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ink/ink1.xml" ContentType="application/inkml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</p:sldMasterIdLst>
  <p:notesMasterIdLst>
    <p:notesMasterId r:id="rId39"/>
  </p:notesMasterIdLst>
  <p:handoutMasterIdLst>
    <p:handoutMasterId r:id="rId40"/>
  </p:handoutMasterIdLst>
  <p:sldIdLst>
    <p:sldId id="291" r:id="rId5"/>
    <p:sldId id="504" r:id="rId6"/>
    <p:sldId id="533" r:id="rId7"/>
    <p:sldId id="506" r:id="rId8"/>
    <p:sldId id="524" r:id="rId9"/>
    <p:sldId id="507" r:id="rId10"/>
    <p:sldId id="508" r:id="rId11"/>
    <p:sldId id="509" r:id="rId12"/>
    <p:sldId id="514" r:id="rId13"/>
    <p:sldId id="515" r:id="rId14"/>
    <p:sldId id="517" r:id="rId15"/>
    <p:sldId id="531" r:id="rId16"/>
    <p:sldId id="516" r:id="rId17"/>
    <p:sldId id="518" r:id="rId18"/>
    <p:sldId id="530" r:id="rId19"/>
    <p:sldId id="519" r:id="rId20"/>
    <p:sldId id="520" r:id="rId21"/>
    <p:sldId id="534" r:id="rId22"/>
    <p:sldId id="521" r:id="rId23"/>
    <p:sldId id="522" r:id="rId24"/>
    <p:sldId id="523" r:id="rId25"/>
    <p:sldId id="513" r:id="rId26"/>
    <p:sldId id="525" r:id="rId27"/>
    <p:sldId id="527" r:id="rId28"/>
    <p:sldId id="511" r:id="rId29"/>
    <p:sldId id="510" r:id="rId30"/>
    <p:sldId id="528" r:id="rId31"/>
    <p:sldId id="529" r:id="rId32"/>
    <p:sldId id="526" r:id="rId33"/>
    <p:sldId id="532" r:id="rId34"/>
    <p:sldId id="502" r:id="rId35"/>
    <p:sldId id="282" r:id="rId36"/>
    <p:sldId id="503" r:id="rId37"/>
    <p:sldId id="505" r:id="rId38"/>
  </p:sldIdLst>
  <p:sldSz cx="12192000" cy="6858000"/>
  <p:notesSz cx="6858000" cy="9144000"/>
  <p:embeddedFontLst>
    <p:embeddedFont>
      <p:font typeface="EON Brix Sans" panose="020B0500000000000000" pitchFamily="34" charset="77"/>
      <p:regular r:id="rId41"/>
      <p:bold r:id="rId42"/>
      <p:italic r:id="rId43"/>
      <p:boldItalic r:id="rId44"/>
    </p:embeddedFont>
    <p:embeddedFont>
      <p:font typeface="EON Office Head" pitchFamily="2" charset="77"/>
      <p:regular r:id="rId45"/>
    </p:embeddedFont>
  </p:embeddedFontLst>
  <p:custDataLst>
    <p:tags r:id="rId4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F2DE63D5-997A-4646-A377-4702673A728D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86" autoAdjust="0"/>
    <p:restoredTop sz="95356"/>
  </p:normalViewPr>
  <p:slideViewPr>
    <p:cSldViewPr snapToGrid="0">
      <p:cViewPr varScale="1">
        <p:scale>
          <a:sx n="138" d="100"/>
          <a:sy n="138" d="100"/>
        </p:scale>
        <p:origin x="44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91" d="100"/>
          <a:sy n="191" d="100"/>
        </p:scale>
        <p:origin x="1506" y="1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font" Target="fonts/font2.fntdata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handoutMaster" Target="handoutMasters/handoutMaster1.xml"/><Relationship Id="rId45" Type="http://schemas.openxmlformats.org/officeDocument/2006/relationships/font" Target="fonts/font5.fntdata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font" Target="fonts/font4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font" Target="fonts/font3.fntdata"/><Relationship Id="rId48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ags" Target="tags/tag1.xml"/><Relationship Id="rId20" Type="http://schemas.openxmlformats.org/officeDocument/2006/relationships/slide" Target="slides/slide16.xml"/><Relationship Id="rId41" Type="http://schemas.openxmlformats.org/officeDocument/2006/relationships/font" Target="fonts/font1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FEF15546-CF98-0ECD-3C30-AF7ADFEA53F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6582542-B544-EC8B-8809-B734C385841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A62F7A-CE52-49BC-9E83-8800BF7B5834}" type="datetimeFigureOut">
              <a:rPr lang="de-DE" smtClean="0"/>
              <a:t>08.10.2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D70DEA8-22DC-FE60-6D02-1EAA7943137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BD74975-BE5F-023C-CBB6-73F33355B86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89E97C-5547-4CEC-9D2D-236DAC97C59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778693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7T15:06:11.301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54 712 24575,'12'-1'0,"1"-1"0,1-1 0,0 0 0,2 0 0,4 0 0,2 1 0,1 0 0,-5 1 0,-4 1 0,-3 1 0,2-1 0,1 1 0,2-2 0,2 0 0,2 0 0,2-1 0,1 2 0,2 0 0,2 0 0,-3 1 0,-2 0 0,-2 1 0,0 0 0,2 0 0,1 1 0,0 0 0,0-1 0,-2 1 0,0-2 0,0 3 0,4 0 0,3 0 0,1 0 0,1-1 0,-2-1 0,-2 0 0,2 0 0,-4 0 0,1 1 0,-2 0 0,-2 1 0,-2-1 0,-1 0 0,1-1 0,2 1 0,3-1 0,2 0 0,2 0 0,3 1 0,-4-2 0,-1 1 0,-2 0 0,-3-1 0,0 1 0,3 0 0,0 0 0,0 0 0,5 1 0,3-1 0,1 1 0,5 0 0,3-1 0,4 1 0,-1-1 0,-3-1 0,-4 0 0,-5-1 0,0 0 0,0-1 0,-1 1 0,1-2 0,4 1 0,1-2 0,5 0 0,3-1 0,6 1 0,1 1 0,3 1 0,-2-2 0,-3 0 0,4 0 0,2 0 0,-1 0 0,-6 1 0,-4 0 0,-5 0 0,1-1 0,2-4 0,3-7 0,-1-2 0,-3-1 0,-7-1 0,-10 2 0,-4-1 0,-5 0 0,-4 2 0,-4-1 0,-2 1 0,-2 1 0,-1 0 0,-1-3 0,-2-1 0,-3-4 0,-2-2 0,-2 0 0,-1 0 0,0 2 0,-1 2 0,-1 0 0,-4-2 0,-3-1 0,-3-2 0,-1 3 0,-2 1 0,1 4 0,2 1 0,1 2 0,0 0 0,-4-2 0,-3-2 0,0 1 0,-1 1 0,-1 2 0,-2 1 0,0 1 0,1 2 0,1 1 0,4 1 0,0 0 0,3 0 0,-2 2 0,-4 1 0,0 1 0,-4 0 0,3 0 0,-1-1 0,-2 1 0,2-1 0,-1 1 0,0 2 0,0 0 0,0 2 0,0 0 0,1 1 0,1-1 0,1 1 0,3 0 0,1 0 0,-2 1 0,0 0 0,-5 0 0,-1 1 0,-2-2 0,-1 1 0,4-1 0,1 0 0,2-1 0,0-1 0,-6 0 0,-6 1 0,-10-1 0,-5 1 0,-4 0 0,-4 0 0,5 0 0,0 1 0,2 0 0,4 0 0,-5 2 0,-3 1 0,2-1 0,2 2 0,5-1 0,6 1 0,1 1 0,0 1 0,2 0 0,5 1 0,0 2 0,5 1 0,-2 1 0,-4 1 0,1 0 0,0-1 0,4 1 0,4-2 0,4 0 0,2 0 0,1 0 0,-1 2 0,1-1 0,2 0 0,4 1 0,1 2 0,1 1 0,1 0 0,2 0 0,-1 2 0,0 3 0,-2 4 0,-1 5 0,2 0 0,2-3 0,4-3 0,3-4 0,1-3 0,2-4 0,1-1 0,-1-2 0,1-2 0,-1 0 0,0 0 0,1 0 0,1 0 0,1-1 0,0 0 0,0 1 0,1-1 0,-1 1 0,0-1 0,2 1 0,0 0 0,1 0 0,0 1 0,-1-2 0,1 1 0,2 1 0,0 0 0,3-1 0,-2-1 0,1-3 0,0 1 0,-1-1 0,0 2 0,0 1 0,0-1 0,1 0 0,0-1 0,3 1 0,2 0 0,0-1 0,-1-1 0,-5 0 0,-3-1 0,-3-1 0,-2-1 0,-2-1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</a:defRPr>
            </a:lvl1pPr>
          </a:lstStyle>
          <a:p>
            <a:fld id="{03ADE0E1-2DAE-45F5-87B7-DB9E3D8054DE}" type="datetimeFigureOut">
              <a:rPr lang="de-DE" smtClean="0"/>
              <a:pPr/>
              <a:t>08.10.2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+mn-lt"/>
              </a:defRPr>
            </a:lvl1pPr>
          </a:lstStyle>
          <a:p>
            <a:fld id="{334F4A3F-64EC-49EC-B822-7C30E9B55BB5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0998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EON Brix Sans" panose="020B0504040000000000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EON Brix Sans" panose="020B0504040000000000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EON Brix Sans" panose="020B0504040000000000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EON Brix Sans" panose="020B0504040000000000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FFD07C-FF3C-F5FE-F199-80445D752E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0C3393B-C2C9-04F4-F5B1-13A5B87A42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6BD4709-284F-F9E1-7A32-3D38F40ED8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14562619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9FDD6E-37B5-680E-3824-9E5CAE90BF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4BD0B9F-8516-E322-A59D-A7EE15B87F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7AA9599-6390-010F-F4C1-824F50BC13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24564036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79C64B-BA0F-2F09-EDCB-A57093C754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10E207E-A595-00D8-0167-DCE7FB3729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59CD001-4452-E904-DE5B-D109323312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31929949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4FEDFD-FD91-7326-F503-BB7F09945E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21CC2AC-E205-E4A2-3499-9C5B9112ED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AAF80A9-A889-2BD7-6308-9B8E2E7CF9D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10966669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F9D089-4A24-5CA0-486D-64FA55AC9E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44207ED-4886-3B6C-3B35-ED7F512584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B99446A-09E9-B5D4-E8A2-23CA6D4678C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26546403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2CF0DE-B3FD-D46D-AF41-67BFDABE0B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C5A288D-4F59-028E-E94D-D115CAEA7CA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985259F-5EA9-2960-20CF-B10F487454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385243958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E2534F-DAA8-00EB-05A5-8246CF9535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31C5D95-117D-3410-F76B-A2B93BA156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BA36C8-A9D3-20B3-0C74-22B93811CB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187234247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EB2269-E620-B801-3002-0F904F3BB8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DD0B4B-9F7A-649B-7AAB-4BDE8AF609E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50AAC92-E8F4-7EB1-28B9-DA4ACF4151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65803680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626279-1F49-B218-EF6E-D3BC396B7D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2B10E2A-C0BE-8CBE-92CD-618101CB47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8EBC6C8-79C1-EA87-4A48-8F147A44BB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194377382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0D6C9D-3283-335D-A2E3-85CB88496F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8DDC6D-D457-3F2C-D112-F8EA74D678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BAB706-FD3D-41B3-31C7-D2C01CFD5F1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304825003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811DF2-2864-E746-0287-1501E23ACE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158AE6A-284B-33BC-0533-F2DBE70743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93F2A54-C013-1414-1079-FD6C8EA405E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41317421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37D2EF-03E1-0A1E-18B2-7338FE8DDA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42A4715-0851-3925-BD96-7B39CFAA0B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31D13B-1CA2-AD41-D6EC-4C73E1237F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146276402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C86F5D-AA04-0B8F-B34D-C71C681663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7CE270D-B84C-A6A0-1D18-89ADF716EF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60DCFDB-A769-3B4B-6454-D8A8B6C948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170506754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818BAD-D06F-691B-BDD4-1AC1C809A1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FFA15B2-9EF1-0473-735E-423697936C7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3170D56-FFE9-B016-9054-80BA985D47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90955003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1232D7-70FF-822E-2693-EBDFA45F3C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BC4FDD-A411-07F1-BC59-0B40235F7FD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DE07373-E12A-4879-C1A6-44AA3CA389B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390159726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E426EF-093D-893A-781C-377C33EFA7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58F371C-3A09-D509-808D-713CD37467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2F8C72B-FAB7-B98C-EC59-903E759BC9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169860119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CE1426-3FC5-077D-1F81-29DC1ABD57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0F3F6B9-7D7D-1F1F-A54B-BB178AD0D4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FD69368-6961-A22E-1BF7-1A7A6223AF2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303122315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FDE308-AE09-566F-C23A-CE3D7EE587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D3F66A-CCB9-0F7C-ACC6-1CEA9117B8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189D117-57CE-19D5-DC5C-0DA829F35E6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112704740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3D8FC5-4164-9BD8-46E1-406293297A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6F61B16-56F5-392E-6EDF-3CFAE0607DB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E6A4FD3-52CA-9F82-5FC6-438A773E58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425766249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85A302-D9CA-90B7-BAC3-1741405836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134C05-3AC7-02E4-6A7A-44FF286969C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EE5F271-8904-AE52-8BFE-9AE10AB019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324969429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6A0FB3-53EF-B567-974F-0B21213E2B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A856ED4-A900-071A-6979-8F8BA96670D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C9C9DC-19B4-6CCF-A532-8FFEA89FF3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303591645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3B5418-8EEF-2394-0ADD-D9CDFACB7F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042FBA7-50E3-3821-D83D-2D7943FCFB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D550205-321B-3E17-3D32-004C676ABA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17737890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F86F77-BC26-77A3-7662-761F8FE41E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A53440-E07D-033A-F194-614F6136ED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FA069B8-9C66-B96D-57EF-36942B1DAC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163240773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00F3AB-FB6F-39D7-26A7-E8AE73E795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96F0F7A-2AC8-9A11-2D02-34218696893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5114E7E-ECA8-F71C-483F-C4588759CEE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28705145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DC7A8E-840F-2A86-B6AB-59D0854D5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7B17C23-2BDB-AF7D-0F26-9A4867438D4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6EF7BD-A4F4-0492-1F0D-D1A1C875DC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18175325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01EC84-3937-A3D1-A825-C8D7694C85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CA814EB-924E-7BED-1E99-A3E45B6240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3B9427D-C6B6-46A3-D6A2-3D3DABB9C9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23686128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1E5896-3EC3-F8DD-AFF1-1A7B388F4C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B87C0B-E0CA-0A04-9F8C-E3EDE73889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A117BCD-2F34-767D-F2BD-65EA280767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20698135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2245C1-6C2D-E56F-EE94-0DA1CF47F1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A61EB90-C92E-9071-A784-D433A38961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865F9D-72E9-9907-5858-69B4451689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39177057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6FC729-B9AC-E247-6288-395D2BC5DD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1AEBDF8-DE5A-3A2A-7AA1-C6B5660667C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D6C4A43-24AA-109B-716D-2446E6F565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26827760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6459F1-CB28-189A-E92C-590D88B861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B86BD73-63B1-B18C-9F16-7119C409B1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2D1ECF8-4DD4-7F2A-0DF6-B7704DC08D7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8057856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3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3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3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2.sv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svg"/><Relationship Id="rId4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ss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>
            <a:extLst>
              <a:ext uri="{FF2B5EF4-FFF2-40B4-BE49-F238E27FC236}">
                <a16:creationId xmlns:a16="http://schemas.microsoft.com/office/drawing/2014/main" id="{DE89EDF3-6591-5B1A-CD1F-6369A64261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2245658"/>
            <a:ext cx="5616575" cy="10563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000" b="0" i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16867C0-5332-AE90-6140-EE0C9C14E7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512763"/>
            <a:ext cx="11233150" cy="1732896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defRPr sz="7000"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 err="1"/>
              <a:t>mastertitelforma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pic>
        <p:nvPicPr>
          <p:cNvPr id="4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8DBD0A4C-EFB4-6856-EBDF-A107B57D3B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74359A26-92F9-701E-A601-E6AD22F61F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8" name="E.ON Logo">
            <a:extLst>
              <a:ext uri="{FF2B5EF4-FFF2-40B4-BE49-F238E27FC236}">
                <a16:creationId xmlns:a16="http://schemas.microsoft.com/office/drawing/2014/main" id="{9F1F22E5-C4EF-53C3-8ADA-A36265609262}"/>
              </a:ext>
            </a:extLst>
          </p:cNvPr>
          <p:cNvSpPr/>
          <p:nvPr userDrawn="1"/>
        </p:nvSpPr>
        <p:spPr>
          <a:xfrm>
            <a:off x="9732026" y="5799031"/>
            <a:ext cx="1980549" cy="546206"/>
          </a:xfrm>
          <a:custGeom>
            <a:avLst/>
            <a:gdLst>
              <a:gd name="connsiteX0" fmla="*/ 1202810 w 1761324"/>
              <a:gd name="connsiteY0" fmla="*/ 180152 h 485747"/>
              <a:gd name="connsiteX1" fmla="*/ 1141362 w 1761324"/>
              <a:gd name="connsiteY1" fmla="*/ 352260 h 485747"/>
              <a:gd name="connsiteX2" fmla="*/ 957018 w 1761324"/>
              <a:gd name="connsiteY2" fmla="*/ 475637 h 485747"/>
              <a:gd name="connsiteX3" fmla="*/ 731528 w 1761324"/>
              <a:gd name="connsiteY3" fmla="*/ 367812 h 485747"/>
              <a:gd name="connsiteX4" fmla="*/ 793529 w 1761324"/>
              <a:gd name="connsiteY4" fmla="*/ 213329 h 485747"/>
              <a:gd name="connsiteX5" fmla="*/ 1135331 w 1761324"/>
              <a:gd name="connsiteY5" fmla="*/ 103429 h 485747"/>
              <a:gd name="connsiteX6" fmla="*/ 1202810 w 1761324"/>
              <a:gd name="connsiteY6" fmla="*/ 180151 h 485747"/>
              <a:gd name="connsiteX7" fmla="*/ 1202810 w 1761324"/>
              <a:gd name="connsiteY7" fmla="*/ 180152 h 485747"/>
              <a:gd name="connsiteX8" fmla="*/ 994873 w 1761324"/>
              <a:gd name="connsiteY8" fmla="*/ 185336 h 485747"/>
              <a:gd name="connsiteX9" fmla="*/ 911486 w 1761324"/>
              <a:gd name="connsiteY9" fmla="*/ 314417 h 485747"/>
              <a:gd name="connsiteX10" fmla="*/ 920810 w 1761324"/>
              <a:gd name="connsiteY10" fmla="*/ 388547 h 485747"/>
              <a:gd name="connsiteX11" fmla="*/ 1017374 w 1761324"/>
              <a:gd name="connsiteY11" fmla="*/ 270871 h 485747"/>
              <a:gd name="connsiteX12" fmla="*/ 1027243 w 1761324"/>
              <a:gd name="connsiteY12" fmla="*/ 198814 h 485747"/>
              <a:gd name="connsiteX13" fmla="*/ 994873 w 1761324"/>
              <a:gd name="connsiteY13" fmla="*/ 185337 h 485747"/>
              <a:gd name="connsiteX14" fmla="*/ 994873 w 1761324"/>
              <a:gd name="connsiteY14" fmla="*/ 185336 h 485747"/>
              <a:gd name="connsiteX15" fmla="*/ 556517 w 1761324"/>
              <a:gd name="connsiteY15" fmla="*/ 188965 h 485747"/>
              <a:gd name="connsiteX16" fmla="*/ 317310 w 1761324"/>
              <a:gd name="connsiteY16" fmla="*/ 319601 h 485747"/>
              <a:gd name="connsiteX17" fmla="*/ 173567 w 1761324"/>
              <a:gd name="connsiteY17" fmla="*/ 316492 h 485747"/>
              <a:gd name="connsiteX18" fmla="*/ 220751 w 1761324"/>
              <a:gd name="connsiteY18" fmla="*/ 392177 h 485747"/>
              <a:gd name="connsiteX19" fmla="*/ 368883 w 1761324"/>
              <a:gd name="connsiteY19" fmla="*/ 371439 h 485747"/>
              <a:gd name="connsiteX20" fmla="*/ 536766 w 1761324"/>
              <a:gd name="connsiteY20" fmla="*/ 417060 h 485747"/>
              <a:gd name="connsiteX21" fmla="*/ 397410 w 1761324"/>
              <a:gd name="connsiteY21" fmla="*/ 478231 h 485747"/>
              <a:gd name="connsiteX22" fmla="*/ 22692 w 1761324"/>
              <a:gd name="connsiteY22" fmla="*/ 223697 h 485747"/>
              <a:gd name="connsiteX23" fmla="*/ 402897 w 1761324"/>
              <a:gd name="connsiteY23" fmla="*/ 5453 h 485747"/>
              <a:gd name="connsiteX24" fmla="*/ 441303 w 1761324"/>
              <a:gd name="connsiteY24" fmla="*/ 269 h 485747"/>
              <a:gd name="connsiteX25" fmla="*/ 556517 w 1761324"/>
              <a:gd name="connsiteY25" fmla="*/ 188966 h 485747"/>
              <a:gd name="connsiteX26" fmla="*/ 556517 w 1761324"/>
              <a:gd name="connsiteY26" fmla="*/ 188965 h 485747"/>
              <a:gd name="connsiteX27" fmla="*/ 413323 w 1761324"/>
              <a:gd name="connsiteY27" fmla="*/ 177560 h 485747"/>
              <a:gd name="connsiteX28" fmla="*/ 409481 w 1761324"/>
              <a:gd name="connsiteY28" fmla="*/ 138680 h 485747"/>
              <a:gd name="connsiteX29" fmla="*/ 217459 w 1761324"/>
              <a:gd name="connsiteY29" fmla="*/ 221624 h 485747"/>
              <a:gd name="connsiteX30" fmla="*/ 220202 w 1761324"/>
              <a:gd name="connsiteY30" fmla="*/ 226290 h 485747"/>
              <a:gd name="connsiteX31" fmla="*/ 377660 w 1761324"/>
              <a:gd name="connsiteY31" fmla="*/ 225771 h 485747"/>
              <a:gd name="connsiteX32" fmla="*/ 413323 w 1761324"/>
              <a:gd name="connsiteY32" fmla="*/ 177560 h 485747"/>
              <a:gd name="connsiteX33" fmla="*/ 413323 w 1761324"/>
              <a:gd name="connsiteY33" fmla="*/ 177560 h 485747"/>
              <a:gd name="connsiteX34" fmla="*/ 717816 w 1761324"/>
              <a:gd name="connsiteY34" fmla="*/ 250654 h 485747"/>
              <a:gd name="connsiteX35" fmla="*/ 684348 w 1761324"/>
              <a:gd name="connsiteY35" fmla="*/ 320118 h 485747"/>
              <a:gd name="connsiteX36" fmla="*/ 586143 w 1761324"/>
              <a:gd name="connsiteY36" fmla="*/ 286942 h 485747"/>
              <a:gd name="connsiteX37" fmla="*/ 696419 w 1761324"/>
              <a:gd name="connsiteY37" fmla="*/ 224216 h 485747"/>
              <a:gd name="connsiteX38" fmla="*/ 717816 w 1761324"/>
              <a:gd name="connsiteY38" fmla="*/ 250654 h 485747"/>
              <a:gd name="connsiteX39" fmla="*/ 717816 w 1761324"/>
              <a:gd name="connsiteY39" fmla="*/ 250654 h 485747"/>
              <a:gd name="connsiteX40" fmla="*/ 1761317 w 1761324"/>
              <a:gd name="connsiteY40" fmla="*/ 180670 h 485747"/>
              <a:gd name="connsiteX41" fmla="*/ 1754740 w 1761324"/>
              <a:gd name="connsiteY41" fmla="*/ 224216 h 485747"/>
              <a:gd name="connsiteX42" fmla="*/ 1674638 w 1761324"/>
              <a:gd name="connsiteY42" fmla="*/ 465271 h 485747"/>
              <a:gd name="connsiteX43" fmla="*/ 1566550 w 1761324"/>
              <a:gd name="connsiteY43" fmla="*/ 460605 h 485747"/>
              <a:gd name="connsiteX44" fmla="*/ 1592889 w 1761324"/>
              <a:gd name="connsiteY44" fmla="*/ 363664 h 485747"/>
              <a:gd name="connsiteX45" fmla="*/ 1608797 w 1761324"/>
              <a:gd name="connsiteY45" fmla="*/ 227846 h 485747"/>
              <a:gd name="connsiteX46" fmla="*/ 1573689 w 1761324"/>
              <a:gd name="connsiteY46" fmla="*/ 232511 h 485747"/>
              <a:gd name="connsiteX47" fmla="*/ 1288943 w 1761324"/>
              <a:gd name="connsiteY47" fmla="*/ 463715 h 485747"/>
              <a:gd name="connsiteX48" fmla="*/ 1190194 w 1761324"/>
              <a:gd name="connsiteY48" fmla="*/ 459569 h 485747"/>
              <a:gd name="connsiteX49" fmla="*/ 1189094 w 1761324"/>
              <a:gd name="connsiteY49" fmla="*/ 446608 h 485747"/>
              <a:gd name="connsiteX50" fmla="*/ 1305951 w 1761324"/>
              <a:gd name="connsiteY50" fmla="*/ 131941 h 485747"/>
              <a:gd name="connsiteX51" fmla="*/ 1407454 w 1761324"/>
              <a:gd name="connsiteY51" fmla="*/ 127795 h 485747"/>
              <a:gd name="connsiteX52" fmla="*/ 1439816 w 1761324"/>
              <a:gd name="connsiteY52" fmla="*/ 188966 h 485747"/>
              <a:gd name="connsiteX53" fmla="*/ 1758578 w 1761324"/>
              <a:gd name="connsiteY53" fmla="*/ 157863 h 485747"/>
              <a:gd name="connsiteX54" fmla="*/ 1761325 w 1761324"/>
              <a:gd name="connsiteY54" fmla="*/ 180670 h 485747"/>
              <a:gd name="connsiteX55" fmla="*/ 1761317 w 1761324"/>
              <a:gd name="connsiteY55" fmla="*/ 180670 h 485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761324" h="485747">
                <a:moveTo>
                  <a:pt x="1202810" y="180152"/>
                </a:moveTo>
                <a:cubicBezTo>
                  <a:pt x="1202810" y="234243"/>
                  <a:pt x="1167140" y="305309"/>
                  <a:pt x="1141362" y="352260"/>
                </a:cubicBezTo>
                <a:cubicBezTo>
                  <a:pt x="1100865" y="426143"/>
                  <a:pt x="1046092" y="470415"/>
                  <a:pt x="957018" y="475637"/>
                </a:cubicBezTo>
                <a:cubicBezTo>
                  <a:pt x="878293" y="480251"/>
                  <a:pt x="700356" y="493166"/>
                  <a:pt x="731528" y="367812"/>
                </a:cubicBezTo>
                <a:cubicBezTo>
                  <a:pt x="745049" y="313545"/>
                  <a:pt x="775084" y="265733"/>
                  <a:pt x="793529" y="213329"/>
                </a:cubicBezTo>
                <a:cubicBezTo>
                  <a:pt x="855493" y="96504"/>
                  <a:pt x="1011440" y="74234"/>
                  <a:pt x="1135331" y="103429"/>
                </a:cubicBezTo>
                <a:cubicBezTo>
                  <a:pt x="1177264" y="117845"/>
                  <a:pt x="1199585" y="137137"/>
                  <a:pt x="1202810" y="180151"/>
                </a:cubicBezTo>
                <a:lnTo>
                  <a:pt x="1202810" y="180152"/>
                </a:lnTo>
                <a:close/>
                <a:moveTo>
                  <a:pt x="994873" y="185336"/>
                </a:moveTo>
                <a:cubicBezTo>
                  <a:pt x="931196" y="185336"/>
                  <a:pt x="923436" y="269327"/>
                  <a:pt x="911486" y="314417"/>
                </a:cubicBezTo>
                <a:cubicBezTo>
                  <a:pt x="908478" y="331458"/>
                  <a:pt x="888290" y="388547"/>
                  <a:pt x="920810" y="388547"/>
                </a:cubicBezTo>
                <a:cubicBezTo>
                  <a:pt x="997372" y="403097"/>
                  <a:pt x="1004496" y="323748"/>
                  <a:pt x="1017374" y="270871"/>
                </a:cubicBezTo>
                <a:cubicBezTo>
                  <a:pt x="1022103" y="251418"/>
                  <a:pt x="1031494" y="218781"/>
                  <a:pt x="1027243" y="198814"/>
                </a:cubicBezTo>
                <a:cubicBezTo>
                  <a:pt x="1027243" y="183962"/>
                  <a:pt x="1005327" y="186329"/>
                  <a:pt x="994873" y="185337"/>
                </a:cubicBezTo>
                <a:lnTo>
                  <a:pt x="994873" y="185336"/>
                </a:lnTo>
                <a:close/>
                <a:moveTo>
                  <a:pt x="556517" y="188965"/>
                </a:moveTo>
                <a:cubicBezTo>
                  <a:pt x="548660" y="331215"/>
                  <a:pt x="442921" y="320145"/>
                  <a:pt x="317310" y="319601"/>
                </a:cubicBezTo>
                <a:cubicBezTo>
                  <a:pt x="269574" y="319415"/>
                  <a:pt x="220757" y="316492"/>
                  <a:pt x="173567" y="316492"/>
                </a:cubicBezTo>
                <a:cubicBezTo>
                  <a:pt x="156154" y="333179"/>
                  <a:pt x="206568" y="383798"/>
                  <a:pt x="220751" y="392177"/>
                </a:cubicBezTo>
                <a:cubicBezTo>
                  <a:pt x="269164" y="420674"/>
                  <a:pt x="329910" y="408438"/>
                  <a:pt x="368883" y="371439"/>
                </a:cubicBezTo>
                <a:cubicBezTo>
                  <a:pt x="389821" y="371439"/>
                  <a:pt x="614559" y="343684"/>
                  <a:pt x="536766" y="417060"/>
                </a:cubicBezTo>
                <a:cubicBezTo>
                  <a:pt x="499114" y="448714"/>
                  <a:pt x="445844" y="467411"/>
                  <a:pt x="397410" y="478231"/>
                </a:cubicBezTo>
                <a:cubicBezTo>
                  <a:pt x="243304" y="512666"/>
                  <a:pt x="-89584" y="428957"/>
                  <a:pt x="22692" y="223697"/>
                </a:cubicBezTo>
                <a:cubicBezTo>
                  <a:pt x="99444" y="104339"/>
                  <a:pt x="265683" y="39072"/>
                  <a:pt x="402897" y="5453"/>
                </a:cubicBezTo>
                <a:cubicBezTo>
                  <a:pt x="415674" y="3038"/>
                  <a:pt x="428296" y="1180"/>
                  <a:pt x="441303" y="269"/>
                </a:cubicBezTo>
                <a:cubicBezTo>
                  <a:pt x="538928" y="-6619"/>
                  <a:pt x="556517" y="120689"/>
                  <a:pt x="556517" y="188966"/>
                </a:cubicBezTo>
                <a:lnTo>
                  <a:pt x="556517" y="188965"/>
                </a:lnTo>
                <a:close/>
                <a:moveTo>
                  <a:pt x="413323" y="177560"/>
                </a:moveTo>
                <a:cubicBezTo>
                  <a:pt x="413323" y="164695"/>
                  <a:pt x="413880" y="151090"/>
                  <a:pt x="409481" y="138680"/>
                </a:cubicBezTo>
                <a:cubicBezTo>
                  <a:pt x="394414" y="81319"/>
                  <a:pt x="236313" y="203809"/>
                  <a:pt x="217459" y="221624"/>
                </a:cubicBezTo>
                <a:cubicBezTo>
                  <a:pt x="215092" y="226128"/>
                  <a:pt x="216881" y="224732"/>
                  <a:pt x="220202" y="226290"/>
                </a:cubicBezTo>
                <a:cubicBezTo>
                  <a:pt x="272671" y="226290"/>
                  <a:pt x="325263" y="225771"/>
                  <a:pt x="377660" y="225771"/>
                </a:cubicBezTo>
                <a:cubicBezTo>
                  <a:pt x="412167" y="220389"/>
                  <a:pt x="413323" y="210466"/>
                  <a:pt x="413323" y="177560"/>
                </a:cubicBezTo>
                <a:lnTo>
                  <a:pt x="413323" y="177560"/>
                </a:lnTo>
                <a:close/>
                <a:moveTo>
                  <a:pt x="717816" y="250654"/>
                </a:moveTo>
                <a:cubicBezTo>
                  <a:pt x="705920" y="273291"/>
                  <a:pt x="708578" y="302987"/>
                  <a:pt x="684348" y="320118"/>
                </a:cubicBezTo>
                <a:cubicBezTo>
                  <a:pt x="651212" y="343544"/>
                  <a:pt x="567745" y="343608"/>
                  <a:pt x="586143" y="286942"/>
                </a:cubicBezTo>
                <a:cubicBezTo>
                  <a:pt x="603559" y="233072"/>
                  <a:pt x="636487" y="210160"/>
                  <a:pt x="696419" y="224216"/>
                </a:cubicBezTo>
                <a:cubicBezTo>
                  <a:pt x="711038" y="228842"/>
                  <a:pt x="714490" y="237992"/>
                  <a:pt x="717816" y="250654"/>
                </a:cubicBezTo>
                <a:lnTo>
                  <a:pt x="717816" y="250654"/>
                </a:lnTo>
                <a:close/>
                <a:moveTo>
                  <a:pt x="1761317" y="180670"/>
                </a:moveTo>
                <a:cubicBezTo>
                  <a:pt x="1761317" y="195172"/>
                  <a:pt x="1758099" y="210123"/>
                  <a:pt x="1754740" y="224216"/>
                </a:cubicBezTo>
                <a:cubicBezTo>
                  <a:pt x="1734933" y="306930"/>
                  <a:pt x="1702997" y="385622"/>
                  <a:pt x="1674638" y="465271"/>
                </a:cubicBezTo>
                <a:cubicBezTo>
                  <a:pt x="1648613" y="489859"/>
                  <a:pt x="1594513" y="476470"/>
                  <a:pt x="1566550" y="460605"/>
                </a:cubicBezTo>
                <a:cubicBezTo>
                  <a:pt x="1552565" y="447389"/>
                  <a:pt x="1587337" y="379960"/>
                  <a:pt x="1592889" y="363664"/>
                </a:cubicBezTo>
                <a:cubicBezTo>
                  <a:pt x="1601412" y="338636"/>
                  <a:pt x="1647962" y="246346"/>
                  <a:pt x="1608797" y="227846"/>
                </a:cubicBezTo>
                <a:cubicBezTo>
                  <a:pt x="1596204" y="227846"/>
                  <a:pt x="1586185" y="229404"/>
                  <a:pt x="1573689" y="232511"/>
                </a:cubicBezTo>
                <a:cubicBezTo>
                  <a:pt x="1456495" y="271279"/>
                  <a:pt x="1373310" y="383999"/>
                  <a:pt x="1288943" y="463715"/>
                </a:cubicBezTo>
                <a:cubicBezTo>
                  <a:pt x="1252375" y="481114"/>
                  <a:pt x="1226118" y="476662"/>
                  <a:pt x="1190194" y="459569"/>
                </a:cubicBezTo>
                <a:cubicBezTo>
                  <a:pt x="1186624" y="456202"/>
                  <a:pt x="1188353" y="450850"/>
                  <a:pt x="1189094" y="446608"/>
                </a:cubicBezTo>
                <a:cubicBezTo>
                  <a:pt x="1216278" y="339317"/>
                  <a:pt x="1259274" y="232942"/>
                  <a:pt x="1305951" y="131941"/>
                </a:cubicBezTo>
                <a:cubicBezTo>
                  <a:pt x="1313291" y="111320"/>
                  <a:pt x="1388747" y="118961"/>
                  <a:pt x="1407454" y="127795"/>
                </a:cubicBezTo>
                <a:cubicBezTo>
                  <a:pt x="1407454" y="150635"/>
                  <a:pt x="1404917" y="188966"/>
                  <a:pt x="1439816" y="188966"/>
                </a:cubicBezTo>
                <a:cubicBezTo>
                  <a:pt x="1518130" y="180810"/>
                  <a:pt x="1710008" y="20195"/>
                  <a:pt x="1758578" y="157863"/>
                </a:cubicBezTo>
                <a:cubicBezTo>
                  <a:pt x="1759955" y="165636"/>
                  <a:pt x="1761325" y="172682"/>
                  <a:pt x="1761325" y="180670"/>
                </a:cubicBezTo>
                <a:lnTo>
                  <a:pt x="1761317" y="180670"/>
                </a:lnTo>
                <a:close/>
              </a:path>
            </a:pathLst>
          </a:custGeom>
          <a:solidFill>
            <a:srgbClr val="F21C0A"/>
          </a:solidFill>
          <a:ln w="7461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59D5AD2-71A5-4E3D-49E2-BB3180F015B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479375" y="6050859"/>
            <a:ext cx="5616575" cy="360000"/>
          </a:xfrm>
        </p:spPr>
        <p:txBody>
          <a:bodyPr anchor="b"/>
          <a:lstStyle>
            <a:lvl1pPr algn="l">
              <a:lnSpc>
                <a:spcPct val="10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fld id="{4166F76A-4900-864D-B9F6-2488814C2A20}" type="datetime1">
              <a:rPr lang="de-DE" smtClean="0"/>
              <a:pPr/>
              <a:t>08.10.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2997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rtl="0">
              <a:defRPr sz="100">
                <a:noFill/>
              </a:defRPr>
            </a:lvl1pPr>
          </a:lstStyle>
          <a:p>
            <a:fld id="{800A6A20-E873-F140-AC79-822BDF254684}" type="datetime1">
              <a:rPr lang="de-DE" smtClean="0"/>
              <a:t>08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9" name="Image">
            <a:extLst>
              <a:ext uri="{FF2B5EF4-FFF2-40B4-BE49-F238E27FC236}">
                <a16:creationId xmlns:a16="http://schemas.microsoft.com/office/drawing/2014/main" id="{C8A0EA80-6C56-3462-7962-5C9554E7B4D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76574" y="1"/>
            <a:ext cx="5915425" cy="6858002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0574" y="1807199"/>
            <a:ext cx="5436000" cy="410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5436613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AA3DA913-F435-7661-FD22-506A0DB96E7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3246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1139">
          <p15:clr>
            <a:srgbClr val="FBAE40"/>
          </p15:clr>
        </p15:guide>
        <p15:guide id="4" orient="horz" pos="372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ediu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56503FA3-8982-0240-96EB-0717438A640D}" type="datetime1">
              <a:rPr lang="de-DE" smtClean="0"/>
              <a:t>08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0000" y="6526211"/>
            <a:ext cx="3504000" cy="138499"/>
          </a:xfrm>
        </p:spPr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1" name="Image">
            <a:extLst>
              <a:ext uri="{FF2B5EF4-FFF2-40B4-BE49-F238E27FC236}">
                <a16:creationId xmlns:a16="http://schemas.microsoft.com/office/drawing/2014/main" id="{16C5AC2D-3DAF-BE99-F11D-E9E48F025B4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44574" y="1"/>
            <a:ext cx="7847425" cy="6858002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0574" y="1807199"/>
            <a:ext cx="3528000" cy="410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3528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10AC4D8E-41CB-97B9-6D6F-3F32AFA5945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277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 userDrawn="1">
          <p15:clr>
            <a:srgbClr val="FBAE40"/>
          </p15:clr>
        </p15:guide>
        <p15:guide id="2" pos="2735" userDrawn="1">
          <p15:clr>
            <a:srgbClr val="FBAE40"/>
          </p15:clr>
        </p15:guide>
        <p15:guide id="3" orient="horz" pos="1139" userDrawn="1">
          <p15:clr>
            <a:srgbClr val="FBAE40"/>
          </p15:clr>
        </p15:guide>
        <p15:guide id="4" orient="horz" pos="3725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A92F7AF8-436B-7E4C-B79C-9AFED39A31DF}" type="datetime1">
              <a:rPr lang="de-DE" smtClean="0"/>
              <a:t>08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Image">
            <a:extLst>
              <a:ext uri="{FF2B5EF4-FFF2-40B4-BE49-F238E27FC236}">
                <a16:creationId xmlns:a16="http://schemas.microsoft.com/office/drawing/2014/main" id="{784C63FE-DE3B-3EE9-CC4E-6277924B19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" y="1807198"/>
            <a:ext cx="6132514" cy="5050801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 err="1"/>
              <a:t>Two</a:t>
            </a:r>
            <a:r>
              <a:rPr lang="de-DE" dirty="0"/>
              <a:t> Images Slide</a:t>
            </a:r>
          </a:p>
        </p:txBody>
      </p:sp>
      <p:sp>
        <p:nvSpPr>
          <p:cNvPr id="10" name="Image">
            <a:extLst>
              <a:ext uri="{FF2B5EF4-FFF2-40B4-BE49-F238E27FC236}">
                <a16:creationId xmlns:a16="http://schemas.microsoft.com/office/drawing/2014/main" id="{936BB358-D532-3EBE-A492-9D8C8B48C9A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32512" y="1807198"/>
            <a:ext cx="6056175" cy="5050801"/>
          </a:xfrm>
          <a:solidFill>
            <a:schemeClr val="bg1">
              <a:lumMod val="85000"/>
            </a:schemeClr>
          </a:solidFill>
        </p:spPr>
        <p:txBody>
          <a:bodyPr tIns="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7277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  <p15:guide id="2" pos="386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454086B4-C1C9-5E41-95C0-A15114FD0380}" type="datetime1">
              <a:rPr lang="de-DE" smtClean="0"/>
              <a:t>08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Image">
            <a:extLst>
              <a:ext uri="{FF2B5EF4-FFF2-40B4-BE49-F238E27FC236}">
                <a16:creationId xmlns:a16="http://schemas.microsoft.com/office/drawing/2014/main" id="{784C63FE-DE3B-3EE9-CC4E-6277924B19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807198"/>
            <a:ext cx="12192000" cy="5050801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4FA448A-A5A1-F5E7-8038-8DB3FB9B20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3497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mage">
            <a:extLst>
              <a:ext uri="{FF2B5EF4-FFF2-40B4-BE49-F238E27FC236}">
                <a16:creationId xmlns:a16="http://schemas.microsoft.com/office/drawing/2014/main" id="{784C63FE-DE3B-3EE9-CC4E-6277924B19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7999"/>
          </a:xfr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de-DE" dirty="0"/>
            </a:lvl1pPr>
          </a:lstStyle>
          <a:p>
            <a:pPr lvl="0" algn="ctr"/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A870E17-585B-25EC-91D4-D2E89C0104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92341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162AFC14-86FA-9D4E-B7BC-74F2486D8FF3}" type="datetime1">
              <a:rPr lang="de-DE" smtClean="0"/>
              <a:t>08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Image">
            <a:extLst>
              <a:ext uri="{FF2B5EF4-FFF2-40B4-BE49-F238E27FC236}">
                <a16:creationId xmlns:a16="http://schemas.microsoft.com/office/drawing/2014/main" id="{2D008FD9-6F72-6E1D-DD0B-A041002F0B3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6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E1DE837E-4AC1-1B52-FD1F-FF041FBEE3F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7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FBDEFF21-870F-0D9C-E524-8E876F8EEAE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2099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CBEAAC-B2AD-9E48-A8EA-4EB764E838A2}" type="datetime1">
              <a:rPr lang="de-DE" smtClean="0"/>
              <a:t>08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04601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  <p15:guide id="2" orient="horz" pos="3725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only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background">
            <a:extLst>
              <a:ext uri="{FF2B5EF4-FFF2-40B4-BE49-F238E27FC236}">
                <a16:creationId xmlns:a16="http://schemas.microsoft.com/office/drawing/2014/main" id="{7A445AAD-DA93-44A7-A716-6A7756ED6265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F8F5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89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D62BF7-8CBC-9E45-BB2F-9259532D43CD}" type="datetime1">
              <a:rPr lang="de-DE" smtClean="0"/>
              <a:t>08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1769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  <p15:guide id="2" orient="horz" pos="372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99B5F3EF-3489-EF41-92AE-C07F97C393BA}" type="datetime1">
              <a:rPr lang="de-DE" smtClean="0"/>
              <a:t>08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56700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54F111-9A96-A84D-87BF-789F902DF62C}" type="datetime1">
              <a:rPr lang="de-DE" smtClean="0"/>
              <a:t>08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10105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5">
            <a:extLst>
              <a:ext uri="{FF2B5EF4-FFF2-40B4-BE49-F238E27FC236}">
                <a16:creationId xmlns:a16="http://schemas.microsoft.com/office/drawing/2014/main" id="{2E56A6B5-6638-1EBD-C8EC-8B45B057CC9C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13" name="Foliennummernplatzhalter 6">
            <a:extLst>
              <a:ext uri="{FF2B5EF4-FFF2-40B4-BE49-F238E27FC236}">
                <a16:creationId xmlns:a16="http://schemas.microsoft.com/office/drawing/2014/main" id="{F8125B0E-A430-BE60-8185-DF418040DB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5" name="Image">
            <a:extLst>
              <a:ext uri="{FF2B5EF4-FFF2-40B4-BE49-F238E27FC236}">
                <a16:creationId xmlns:a16="http://schemas.microsoft.com/office/drawing/2014/main" id="{2CA009F2-CDFA-1DA7-02B3-838E5290068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DE89EDF3-6591-5B1A-CD1F-6369A64261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2245658"/>
            <a:ext cx="5616575" cy="10563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000" b="0" i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16867C0-5332-AE90-6140-EE0C9C14E7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512763"/>
            <a:ext cx="11233150" cy="1732896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defRPr sz="70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 err="1"/>
              <a:t>mastertitelforma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pic>
        <p:nvPicPr>
          <p:cNvPr id="4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8DBD0A4C-EFB4-6856-EBDF-A107B57D3B3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74359A26-92F9-701E-A601-E6AD22F61F4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ECB2BC4-109C-E1A1-A355-551DE1C33D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32025" y="5799032"/>
            <a:ext cx="1980551" cy="546206"/>
          </a:xfrm>
          <a:custGeom>
            <a:avLst/>
            <a:gdLst>
              <a:gd name="connsiteX0" fmla="*/ 738049 w 1980551"/>
              <a:gd name="connsiteY0" fmla="*/ 247957 h 546206"/>
              <a:gd name="connsiteX1" fmla="*/ 783101 w 1980551"/>
              <a:gd name="connsiteY1" fmla="*/ 252123 h 546206"/>
              <a:gd name="connsiteX2" fmla="*/ 807161 w 1980551"/>
              <a:gd name="connsiteY2" fmla="*/ 281851 h 546206"/>
              <a:gd name="connsiteX3" fmla="*/ 769527 w 1980551"/>
              <a:gd name="connsiteY3" fmla="*/ 359961 h 546206"/>
              <a:gd name="connsiteX4" fmla="*/ 659099 w 1980551"/>
              <a:gd name="connsiteY4" fmla="*/ 322656 h 546206"/>
              <a:gd name="connsiteX5" fmla="*/ 738049 w 1980551"/>
              <a:gd name="connsiteY5" fmla="*/ 247957 h 546206"/>
              <a:gd name="connsiteX6" fmla="*/ 625785 w 1980551"/>
              <a:gd name="connsiteY6" fmla="*/ 212484 h 546206"/>
              <a:gd name="connsiteX7" fmla="*/ 625785 w 1980551"/>
              <a:gd name="connsiteY7" fmla="*/ 212485 h 546206"/>
              <a:gd name="connsiteX8" fmla="*/ 625785 w 1980551"/>
              <a:gd name="connsiteY8" fmla="*/ 212484 h 546206"/>
              <a:gd name="connsiteX9" fmla="*/ 1118702 w 1980551"/>
              <a:gd name="connsiteY9" fmla="*/ 208403 h 546206"/>
              <a:gd name="connsiteX10" fmla="*/ 1024936 w 1980551"/>
              <a:gd name="connsiteY10" fmla="*/ 353550 h 546206"/>
              <a:gd name="connsiteX11" fmla="*/ 1035421 w 1980551"/>
              <a:gd name="connsiteY11" fmla="*/ 436907 h 546206"/>
              <a:gd name="connsiteX12" fmla="*/ 1144003 w 1980551"/>
              <a:gd name="connsiteY12" fmla="*/ 304584 h 546206"/>
              <a:gd name="connsiteX13" fmla="*/ 1155101 w 1980551"/>
              <a:gd name="connsiteY13" fmla="*/ 223559 h 546206"/>
              <a:gd name="connsiteX14" fmla="*/ 1118702 w 1980551"/>
              <a:gd name="connsiteY14" fmla="*/ 208404 h 546206"/>
              <a:gd name="connsiteX15" fmla="*/ 422544 w 1980551"/>
              <a:gd name="connsiteY15" fmla="*/ 140485 h 546206"/>
              <a:gd name="connsiteX16" fmla="*/ 244526 w 1980551"/>
              <a:gd name="connsiteY16" fmla="*/ 249208 h 546206"/>
              <a:gd name="connsiteX17" fmla="*/ 247611 w 1980551"/>
              <a:gd name="connsiteY17" fmla="*/ 254455 h 546206"/>
              <a:gd name="connsiteX18" fmla="*/ 424667 w 1980551"/>
              <a:gd name="connsiteY18" fmla="*/ 253871 h 546206"/>
              <a:gd name="connsiteX19" fmla="*/ 464769 w 1980551"/>
              <a:gd name="connsiteY19" fmla="*/ 199659 h 546206"/>
              <a:gd name="connsiteX20" fmla="*/ 460448 w 1980551"/>
              <a:gd name="connsiteY20" fmla="*/ 155940 h 546206"/>
              <a:gd name="connsiteX21" fmla="*/ 422544 w 1980551"/>
              <a:gd name="connsiteY21" fmla="*/ 140485 h 546206"/>
              <a:gd name="connsiteX22" fmla="*/ 1910799 w 1980551"/>
              <a:gd name="connsiteY22" fmla="*/ 116378 h 546206"/>
              <a:gd name="connsiteX23" fmla="*/ 1977462 w 1980551"/>
              <a:gd name="connsiteY23" fmla="*/ 177511 h 546206"/>
              <a:gd name="connsiteX24" fmla="*/ 1980551 w 1980551"/>
              <a:gd name="connsiteY24" fmla="*/ 203157 h 546206"/>
              <a:gd name="connsiteX25" fmla="*/ 1980542 w 1980551"/>
              <a:gd name="connsiteY25" fmla="*/ 203157 h 546206"/>
              <a:gd name="connsiteX26" fmla="*/ 1973147 w 1980551"/>
              <a:gd name="connsiteY26" fmla="*/ 252123 h 546206"/>
              <a:gd name="connsiteX27" fmla="*/ 1883075 w 1980551"/>
              <a:gd name="connsiteY27" fmla="*/ 523181 h 546206"/>
              <a:gd name="connsiteX28" fmla="*/ 1761533 w 1980551"/>
              <a:gd name="connsiteY28" fmla="*/ 517934 h 546206"/>
              <a:gd name="connsiteX29" fmla="*/ 1791151 w 1980551"/>
              <a:gd name="connsiteY29" fmla="*/ 408927 h 546206"/>
              <a:gd name="connsiteX30" fmla="*/ 1809039 w 1980551"/>
              <a:gd name="connsiteY30" fmla="*/ 256204 h 546206"/>
              <a:gd name="connsiteX31" fmla="*/ 1769561 w 1980551"/>
              <a:gd name="connsiteY31" fmla="*/ 261450 h 546206"/>
              <a:gd name="connsiteX32" fmla="*/ 1449374 w 1980551"/>
              <a:gd name="connsiteY32" fmla="*/ 521431 h 546206"/>
              <a:gd name="connsiteX33" fmla="*/ 1338334 w 1980551"/>
              <a:gd name="connsiteY33" fmla="*/ 516769 h 546206"/>
              <a:gd name="connsiteX34" fmla="*/ 1337097 w 1980551"/>
              <a:gd name="connsiteY34" fmla="*/ 502195 h 546206"/>
              <a:gd name="connsiteX35" fmla="*/ 1468499 w 1980551"/>
              <a:gd name="connsiteY35" fmla="*/ 148362 h 546206"/>
              <a:gd name="connsiteX36" fmla="*/ 1582635 w 1980551"/>
              <a:gd name="connsiteY36" fmla="*/ 143700 h 546206"/>
              <a:gd name="connsiteX37" fmla="*/ 1619025 w 1980551"/>
              <a:gd name="connsiteY37" fmla="*/ 212485 h 546206"/>
              <a:gd name="connsiteX38" fmla="*/ 1910799 w 1980551"/>
              <a:gd name="connsiteY38" fmla="*/ 116378 h 546206"/>
              <a:gd name="connsiteX39" fmla="*/ 1167615 w 1980551"/>
              <a:gd name="connsiteY39" fmla="*/ 103288 h 546206"/>
              <a:gd name="connsiteX40" fmla="*/ 1276642 w 1980551"/>
              <a:gd name="connsiteY40" fmla="*/ 116302 h 546206"/>
              <a:gd name="connsiteX41" fmla="*/ 1352520 w 1980551"/>
              <a:gd name="connsiteY41" fmla="*/ 202573 h 546206"/>
              <a:gd name="connsiteX42" fmla="*/ 1352520 w 1980551"/>
              <a:gd name="connsiteY42" fmla="*/ 202574 h 546206"/>
              <a:gd name="connsiteX43" fmla="*/ 1283424 w 1980551"/>
              <a:gd name="connsiteY43" fmla="*/ 396104 h 546206"/>
              <a:gd name="connsiteX44" fmla="*/ 1076135 w 1980551"/>
              <a:gd name="connsiteY44" fmla="*/ 534837 h 546206"/>
              <a:gd name="connsiteX45" fmla="*/ 822579 w 1980551"/>
              <a:gd name="connsiteY45" fmla="*/ 413591 h 546206"/>
              <a:gd name="connsiteX46" fmla="*/ 892297 w 1980551"/>
              <a:gd name="connsiteY46" fmla="*/ 239880 h 546206"/>
              <a:gd name="connsiteX47" fmla="*/ 1167615 w 1980551"/>
              <a:gd name="connsiteY47" fmla="*/ 103288 h 546206"/>
              <a:gd name="connsiteX48" fmla="*/ 496231 w 1980551"/>
              <a:gd name="connsiteY48" fmla="*/ 302 h 546206"/>
              <a:gd name="connsiteX49" fmla="*/ 620979 w 1980551"/>
              <a:gd name="connsiteY49" fmla="*/ 145853 h 546206"/>
              <a:gd name="connsiteX50" fmla="*/ 625785 w 1980551"/>
              <a:gd name="connsiteY50" fmla="*/ 212484 h 546206"/>
              <a:gd name="connsiteX51" fmla="*/ 617484 w 1980551"/>
              <a:gd name="connsiteY51" fmla="*/ 264746 h 546206"/>
              <a:gd name="connsiteX52" fmla="*/ 356805 w 1980551"/>
              <a:gd name="connsiteY52" fmla="*/ 359380 h 546206"/>
              <a:gd name="connsiteX53" fmla="*/ 195171 w 1980551"/>
              <a:gd name="connsiteY53" fmla="*/ 355884 h 546206"/>
              <a:gd name="connsiteX54" fmla="*/ 248228 w 1980551"/>
              <a:gd name="connsiteY54" fmla="*/ 440989 h 546206"/>
              <a:gd name="connsiteX55" fmla="*/ 414797 w 1980551"/>
              <a:gd name="connsiteY55" fmla="*/ 417670 h 546206"/>
              <a:gd name="connsiteX56" fmla="*/ 603576 w 1980551"/>
              <a:gd name="connsiteY56" fmla="*/ 468969 h 546206"/>
              <a:gd name="connsiteX57" fmla="*/ 446875 w 1980551"/>
              <a:gd name="connsiteY57" fmla="*/ 537754 h 546206"/>
              <a:gd name="connsiteX58" fmla="*/ 25517 w 1980551"/>
              <a:gd name="connsiteY58" fmla="*/ 251539 h 546206"/>
              <a:gd name="connsiteX59" fmla="*/ 453045 w 1980551"/>
              <a:gd name="connsiteY59" fmla="*/ 6131 h 546206"/>
              <a:gd name="connsiteX60" fmla="*/ 496231 w 1980551"/>
              <a:gd name="connsiteY60" fmla="*/ 302 h 546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1980551" h="546206">
                <a:moveTo>
                  <a:pt x="738049" y="247957"/>
                </a:moveTo>
                <a:cubicBezTo>
                  <a:pt x="751303" y="246818"/>
                  <a:pt x="766253" y="248171"/>
                  <a:pt x="783101" y="252123"/>
                </a:cubicBezTo>
                <a:cubicBezTo>
                  <a:pt x="799539" y="257324"/>
                  <a:pt x="803421" y="267613"/>
                  <a:pt x="807161" y="281851"/>
                </a:cubicBezTo>
                <a:cubicBezTo>
                  <a:pt x="793784" y="307306"/>
                  <a:pt x="796773" y="340698"/>
                  <a:pt x="769527" y="359961"/>
                </a:cubicBezTo>
                <a:cubicBezTo>
                  <a:pt x="732267" y="386303"/>
                  <a:pt x="638411" y="386375"/>
                  <a:pt x="659099" y="322656"/>
                </a:cubicBezTo>
                <a:cubicBezTo>
                  <a:pt x="673787" y="277225"/>
                  <a:pt x="698286" y="251375"/>
                  <a:pt x="738049" y="247957"/>
                </a:cubicBezTo>
                <a:close/>
                <a:moveTo>
                  <a:pt x="625785" y="212484"/>
                </a:moveTo>
                <a:lnTo>
                  <a:pt x="625785" y="212485"/>
                </a:lnTo>
                <a:lnTo>
                  <a:pt x="625785" y="212484"/>
                </a:lnTo>
                <a:close/>
                <a:moveTo>
                  <a:pt x="1118702" y="208403"/>
                </a:moveTo>
                <a:cubicBezTo>
                  <a:pt x="1047099" y="208403"/>
                  <a:pt x="1038373" y="302848"/>
                  <a:pt x="1024936" y="353550"/>
                </a:cubicBezTo>
                <a:cubicBezTo>
                  <a:pt x="1021554" y="372712"/>
                  <a:pt x="998853" y="436907"/>
                  <a:pt x="1035421" y="436907"/>
                </a:cubicBezTo>
                <a:cubicBezTo>
                  <a:pt x="1121512" y="453268"/>
                  <a:pt x="1129523" y="364043"/>
                  <a:pt x="1144003" y="304584"/>
                </a:cubicBezTo>
                <a:cubicBezTo>
                  <a:pt x="1149321" y="282710"/>
                  <a:pt x="1159881" y="246011"/>
                  <a:pt x="1155101" y="223559"/>
                </a:cubicBezTo>
                <a:cubicBezTo>
                  <a:pt x="1155101" y="206858"/>
                  <a:pt x="1130457" y="209520"/>
                  <a:pt x="1118702" y="208404"/>
                </a:cubicBezTo>
                <a:close/>
                <a:moveTo>
                  <a:pt x="422544" y="140485"/>
                </a:moveTo>
                <a:cubicBezTo>
                  <a:pt x="364403" y="152951"/>
                  <a:pt x="260427" y="234184"/>
                  <a:pt x="244526" y="249208"/>
                </a:cubicBezTo>
                <a:cubicBezTo>
                  <a:pt x="241865" y="254272"/>
                  <a:pt x="243876" y="252703"/>
                  <a:pt x="247611" y="254455"/>
                </a:cubicBezTo>
                <a:cubicBezTo>
                  <a:pt x="306610" y="254455"/>
                  <a:pt x="365748" y="253871"/>
                  <a:pt x="424667" y="253871"/>
                </a:cubicBezTo>
                <a:cubicBezTo>
                  <a:pt x="463469" y="247819"/>
                  <a:pt x="464769" y="236661"/>
                  <a:pt x="464769" y="199659"/>
                </a:cubicBezTo>
                <a:cubicBezTo>
                  <a:pt x="464769" y="185193"/>
                  <a:pt x="465395" y="169895"/>
                  <a:pt x="460448" y="155940"/>
                </a:cubicBezTo>
                <a:cubicBezTo>
                  <a:pt x="456213" y="139815"/>
                  <a:pt x="441925" y="136330"/>
                  <a:pt x="422544" y="140485"/>
                </a:cubicBezTo>
                <a:close/>
                <a:moveTo>
                  <a:pt x="1910799" y="116378"/>
                </a:moveTo>
                <a:cubicBezTo>
                  <a:pt x="1940083" y="121072"/>
                  <a:pt x="1963808" y="138810"/>
                  <a:pt x="1977462" y="177511"/>
                </a:cubicBezTo>
                <a:cubicBezTo>
                  <a:pt x="1979011" y="186251"/>
                  <a:pt x="1980551" y="194174"/>
                  <a:pt x="1980551" y="203157"/>
                </a:cubicBezTo>
                <a:lnTo>
                  <a:pt x="1980542" y="203157"/>
                </a:lnTo>
                <a:cubicBezTo>
                  <a:pt x="1980542" y="219464"/>
                  <a:pt x="1976924" y="236275"/>
                  <a:pt x="1973147" y="252123"/>
                </a:cubicBezTo>
                <a:cubicBezTo>
                  <a:pt x="1950874" y="345132"/>
                  <a:pt x="1914963" y="433618"/>
                  <a:pt x="1883075" y="523181"/>
                </a:cubicBezTo>
                <a:cubicBezTo>
                  <a:pt x="1853810" y="550829"/>
                  <a:pt x="1792977" y="535774"/>
                  <a:pt x="1761533" y="517934"/>
                </a:cubicBezTo>
                <a:cubicBezTo>
                  <a:pt x="1745808" y="503073"/>
                  <a:pt x="1784907" y="427251"/>
                  <a:pt x="1791151" y="408927"/>
                </a:cubicBezTo>
                <a:cubicBezTo>
                  <a:pt x="1800734" y="380784"/>
                  <a:pt x="1853078" y="277007"/>
                  <a:pt x="1809039" y="256204"/>
                </a:cubicBezTo>
                <a:cubicBezTo>
                  <a:pt x="1794878" y="256204"/>
                  <a:pt x="1783612" y="257956"/>
                  <a:pt x="1769561" y="261450"/>
                </a:cubicBezTo>
                <a:cubicBezTo>
                  <a:pt x="1637780" y="305043"/>
                  <a:pt x="1544241" y="431793"/>
                  <a:pt x="1449374" y="521431"/>
                </a:cubicBezTo>
                <a:cubicBezTo>
                  <a:pt x="1408254" y="540996"/>
                  <a:pt x="1378729" y="535989"/>
                  <a:pt x="1338334" y="516769"/>
                </a:cubicBezTo>
                <a:cubicBezTo>
                  <a:pt x="1334319" y="512983"/>
                  <a:pt x="1336264" y="506965"/>
                  <a:pt x="1337097" y="502195"/>
                </a:cubicBezTo>
                <a:cubicBezTo>
                  <a:pt x="1367664" y="381550"/>
                  <a:pt x="1416012" y="261935"/>
                  <a:pt x="1468499" y="148362"/>
                </a:cubicBezTo>
                <a:cubicBezTo>
                  <a:pt x="1476752" y="125175"/>
                  <a:pt x="1561600" y="133767"/>
                  <a:pt x="1582635" y="143700"/>
                </a:cubicBezTo>
                <a:cubicBezTo>
                  <a:pt x="1582635" y="169383"/>
                  <a:pt x="1579782" y="212485"/>
                  <a:pt x="1619025" y="212485"/>
                </a:cubicBezTo>
                <a:cubicBezTo>
                  <a:pt x="1685071" y="205607"/>
                  <a:pt x="1822948" y="102296"/>
                  <a:pt x="1910799" y="116378"/>
                </a:cubicBezTo>
                <a:close/>
                <a:moveTo>
                  <a:pt x="1167615" y="103288"/>
                </a:moveTo>
                <a:cubicBezTo>
                  <a:pt x="1204734" y="103504"/>
                  <a:pt x="1241814" y="108095"/>
                  <a:pt x="1276642" y="116302"/>
                </a:cubicBezTo>
                <a:cubicBezTo>
                  <a:pt x="1323794" y="132512"/>
                  <a:pt x="1348894" y="154205"/>
                  <a:pt x="1352520" y="202573"/>
                </a:cubicBezTo>
                <a:lnTo>
                  <a:pt x="1352520" y="202574"/>
                </a:lnTo>
                <a:cubicBezTo>
                  <a:pt x="1352520" y="263398"/>
                  <a:pt x="1312410" y="343309"/>
                  <a:pt x="1283424" y="396104"/>
                </a:cubicBezTo>
                <a:cubicBezTo>
                  <a:pt x="1237886" y="479183"/>
                  <a:pt x="1176296" y="528965"/>
                  <a:pt x="1076135" y="534837"/>
                </a:cubicBezTo>
                <a:cubicBezTo>
                  <a:pt x="987612" y="540025"/>
                  <a:pt x="787527" y="554548"/>
                  <a:pt x="822579" y="413591"/>
                </a:cubicBezTo>
                <a:cubicBezTo>
                  <a:pt x="837783" y="352570"/>
                  <a:pt x="871557" y="298807"/>
                  <a:pt x="892297" y="239880"/>
                </a:cubicBezTo>
                <a:cubicBezTo>
                  <a:pt x="944555" y="141356"/>
                  <a:pt x="1056258" y="102639"/>
                  <a:pt x="1167615" y="103288"/>
                </a:cubicBezTo>
                <a:close/>
                <a:moveTo>
                  <a:pt x="496231" y="302"/>
                </a:moveTo>
                <a:cubicBezTo>
                  <a:pt x="578563" y="-5507"/>
                  <a:pt x="610271" y="73564"/>
                  <a:pt x="620979" y="145853"/>
                </a:cubicBezTo>
                <a:lnTo>
                  <a:pt x="625785" y="212484"/>
                </a:lnTo>
                <a:lnTo>
                  <a:pt x="617484" y="264746"/>
                </a:lnTo>
                <a:cubicBezTo>
                  <a:pt x="586877" y="369512"/>
                  <a:pt x="480395" y="359915"/>
                  <a:pt x="356805" y="359380"/>
                </a:cubicBezTo>
                <a:cubicBezTo>
                  <a:pt x="303128" y="359171"/>
                  <a:pt x="248235" y="355884"/>
                  <a:pt x="195171" y="355884"/>
                </a:cubicBezTo>
                <a:cubicBezTo>
                  <a:pt x="175591" y="374648"/>
                  <a:pt x="232280" y="431567"/>
                  <a:pt x="248228" y="440989"/>
                </a:cubicBezTo>
                <a:cubicBezTo>
                  <a:pt x="302667" y="473033"/>
                  <a:pt x="370974" y="459274"/>
                  <a:pt x="414797" y="417670"/>
                </a:cubicBezTo>
                <a:cubicBezTo>
                  <a:pt x="438341" y="417670"/>
                  <a:pt x="691052" y="386460"/>
                  <a:pt x="603576" y="468969"/>
                </a:cubicBezTo>
                <a:cubicBezTo>
                  <a:pt x="561238" y="504563"/>
                  <a:pt x="501337" y="525587"/>
                  <a:pt x="446875" y="537754"/>
                </a:cubicBezTo>
                <a:cubicBezTo>
                  <a:pt x="273588" y="576475"/>
                  <a:pt x="-100733" y="482347"/>
                  <a:pt x="25517" y="251539"/>
                </a:cubicBezTo>
                <a:cubicBezTo>
                  <a:pt x="111822" y="117325"/>
                  <a:pt x="298753" y="43934"/>
                  <a:pt x="453045" y="6131"/>
                </a:cubicBezTo>
                <a:cubicBezTo>
                  <a:pt x="467412" y="3415"/>
                  <a:pt x="481605" y="1326"/>
                  <a:pt x="496231" y="30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800"/>
            </a:lvl1pPr>
            <a:lvl5pPr>
              <a:defRPr/>
            </a:lvl5pPr>
          </a:lstStyle>
          <a:p>
            <a:pPr lvl="0"/>
            <a:r>
              <a:rPr lang="de-DE" dirty="0"/>
              <a:t>  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74992822-E94C-1702-FD5A-3197C5DBF069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479375" y="6050859"/>
            <a:ext cx="5616000" cy="360000"/>
          </a:xfrm>
        </p:spPr>
        <p:txBody>
          <a:bodyPr anchor="b"/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fld id="{4166F76A-4900-864D-B9F6-2488814C2A20}" type="datetime1">
              <a:rPr lang="de-DE" smtClean="0"/>
              <a:pPr/>
              <a:t>08.10.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93295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/Tab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background">
            <a:extLst>
              <a:ext uri="{FF2B5EF4-FFF2-40B4-BE49-F238E27FC236}">
                <a16:creationId xmlns:a16="http://schemas.microsoft.com/office/drawing/2014/main" id="{55C950C9-43EF-39C3-FF01-39DDE884BF08}"/>
              </a:ext>
            </a:extLst>
          </p:cNvPr>
          <p:cNvSpPr/>
          <p:nvPr userDrawn="1"/>
        </p:nvSpPr>
        <p:spPr>
          <a:xfrm>
            <a:off x="0" y="0"/>
            <a:ext cx="7824788" cy="6857999"/>
          </a:xfrm>
          <a:prstGeom prst="rect">
            <a:avLst/>
          </a:prstGeom>
          <a:solidFill>
            <a:srgbClr val="F8F5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89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099EB4-9340-0347-AF3C-D74FCC7E080E}" type="datetime1">
              <a:rPr lang="de-DE" smtClean="0"/>
              <a:t>08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6" name="Content right">
            <a:extLst>
              <a:ext uri="{FF2B5EF4-FFF2-40B4-BE49-F238E27FC236}">
                <a16:creationId xmlns:a16="http://schemas.microsoft.com/office/drawing/2014/main" id="{0ED697D8-4001-2C2F-6C69-6C69F0A9DA4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183563" y="1807199"/>
            <a:ext cx="3529012" cy="41040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3563" y="512763"/>
            <a:ext cx="3528436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4" name="Chart Footnote/Source">
            <a:extLst>
              <a:ext uri="{FF2B5EF4-FFF2-40B4-BE49-F238E27FC236}">
                <a16:creationId xmlns:a16="http://schemas.microsoft.com/office/drawing/2014/main" id="{8388A654-05DA-46BD-2557-D2D34395DB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0000" y="5759167"/>
            <a:ext cx="7092375" cy="151323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900" b="0"/>
            </a:lvl1pPr>
          </a:lstStyle>
          <a:p>
            <a:pPr lvl="0"/>
            <a:r>
              <a:rPr lang="de-DE" err="1"/>
              <a:t>Footnote</a:t>
            </a:r>
            <a:r>
              <a:rPr lang="de-DE"/>
              <a:t>/Source</a:t>
            </a:r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80573" y="1399160"/>
            <a:ext cx="7091801" cy="4262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Insert </a:t>
            </a:r>
            <a:r>
              <a:rPr lang="de-DE" dirty="0" err="1"/>
              <a:t>graph</a:t>
            </a:r>
            <a:r>
              <a:rPr lang="de-DE" dirty="0"/>
              <a:t>/</a:t>
            </a:r>
            <a:r>
              <a:rPr lang="de-DE" dirty="0" err="1"/>
              <a:t>table</a:t>
            </a:r>
            <a:endParaRPr lang="de-DE" dirty="0"/>
          </a:p>
        </p:txBody>
      </p:sp>
      <p:sp>
        <p:nvSpPr>
          <p:cNvPr id="12" name="Chart Subtitle">
            <a:extLst>
              <a:ext uri="{FF2B5EF4-FFF2-40B4-BE49-F238E27FC236}">
                <a16:creationId xmlns:a16="http://schemas.microsoft.com/office/drawing/2014/main" id="{1176B54B-A8DF-1176-D781-146DE34A5EF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0000" y="851410"/>
            <a:ext cx="7092375" cy="302647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de-DE" dirty="0"/>
              <a:t>Unit </a:t>
            </a:r>
            <a:r>
              <a:rPr lang="de-DE" dirty="0" err="1"/>
              <a:t>measure</a:t>
            </a:r>
            <a:endParaRPr lang="de-DE" dirty="0"/>
          </a:p>
        </p:txBody>
      </p:sp>
      <p:sp>
        <p:nvSpPr>
          <p:cNvPr id="11" name="Chart Title">
            <a:extLst>
              <a:ext uri="{FF2B5EF4-FFF2-40B4-BE49-F238E27FC236}">
                <a16:creationId xmlns:a16="http://schemas.microsoft.com/office/drawing/2014/main" id="{0C1D1F4B-9BF8-DFAD-1852-35C89F0628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0000" y="512763"/>
            <a:ext cx="7092375" cy="302647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de-DE" dirty="0"/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3696840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55" userDrawn="1">
          <p15:clr>
            <a:srgbClr val="FBAE40"/>
          </p15:clr>
        </p15:guide>
        <p15:guide id="3" pos="4770" userDrawn="1">
          <p15:clr>
            <a:srgbClr val="FBAE40"/>
          </p15:clr>
        </p15:guide>
        <p15:guide id="4" orient="horz" pos="3725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/Tab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background">
            <a:extLst>
              <a:ext uri="{FF2B5EF4-FFF2-40B4-BE49-F238E27FC236}">
                <a16:creationId xmlns:a16="http://schemas.microsoft.com/office/drawing/2014/main" id="{55C950C9-43EF-39C3-FF01-39DDE884BF08}"/>
              </a:ext>
            </a:extLst>
          </p:cNvPr>
          <p:cNvSpPr/>
          <p:nvPr userDrawn="1"/>
        </p:nvSpPr>
        <p:spPr>
          <a:xfrm>
            <a:off x="6275388" y="0"/>
            <a:ext cx="5916612" cy="6857999"/>
          </a:xfrm>
          <a:prstGeom prst="rect">
            <a:avLst/>
          </a:prstGeom>
          <a:solidFill>
            <a:srgbClr val="F8F5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89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0FC8AF-567C-5F49-8E44-47B93969B66E}" type="datetime1">
              <a:rPr lang="de-DE" smtClean="0"/>
              <a:t>08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6" name="Content right">
            <a:extLst>
              <a:ext uri="{FF2B5EF4-FFF2-40B4-BE49-F238E27FC236}">
                <a16:creationId xmlns:a16="http://schemas.microsoft.com/office/drawing/2014/main" id="{0ED697D8-4001-2C2F-6C69-6C69F0A9DA4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9998" y="1807199"/>
            <a:ext cx="4968301" cy="41040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999" y="512763"/>
            <a:ext cx="49683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743700" y="512762"/>
            <a:ext cx="4968300" cy="451427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Insert </a:t>
            </a:r>
            <a:r>
              <a:rPr lang="de-DE" err="1"/>
              <a:t>graph</a:t>
            </a:r>
            <a:r>
              <a:rPr lang="de-DE"/>
              <a:t>/</a:t>
            </a:r>
            <a:r>
              <a:rPr lang="de-DE" err="1"/>
              <a:t>table</a:t>
            </a:r>
            <a:endParaRPr lang="de-DE"/>
          </a:p>
        </p:txBody>
      </p:sp>
      <p:sp>
        <p:nvSpPr>
          <p:cNvPr id="12" name="Chart Subtitle">
            <a:extLst>
              <a:ext uri="{FF2B5EF4-FFF2-40B4-BE49-F238E27FC236}">
                <a16:creationId xmlns:a16="http://schemas.microsoft.com/office/drawing/2014/main" id="{1176B54B-A8DF-1176-D781-146DE34A5EF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3299" y="5598356"/>
            <a:ext cx="4968702" cy="302647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de-DE" dirty="0"/>
              <a:t>Unit </a:t>
            </a:r>
            <a:r>
              <a:rPr lang="de-DE" dirty="0" err="1"/>
              <a:t>measure</a:t>
            </a:r>
            <a:endParaRPr lang="de-DE" dirty="0"/>
          </a:p>
        </p:txBody>
      </p:sp>
      <p:sp>
        <p:nvSpPr>
          <p:cNvPr id="11" name="Chart Title">
            <a:extLst>
              <a:ext uri="{FF2B5EF4-FFF2-40B4-BE49-F238E27FC236}">
                <a16:creationId xmlns:a16="http://schemas.microsoft.com/office/drawing/2014/main" id="{0C1D1F4B-9BF8-DFAD-1852-35C89F0628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43299" y="5259709"/>
            <a:ext cx="4968702" cy="302647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de-DE" dirty="0"/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2311415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3" pos="3727" userDrawn="1">
          <p15:clr>
            <a:srgbClr val="FBAE40"/>
          </p15:clr>
        </p15:guide>
        <p15:guide id="4" orient="horz" pos="3725">
          <p15:clr>
            <a:srgbClr val="FBAE40"/>
          </p15:clr>
        </p15:guide>
        <p15:guide id="5" pos="4248" userDrawn="1">
          <p15:clr>
            <a:srgbClr val="FBAE40"/>
          </p15:clr>
        </p15:guide>
        <p15:guide id="6" pos="3432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E264AB6-0912-0D16-C25D-0763240699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54000">
                <a:srgbClr val="EA1B0A"/>
              </a:gs>
              <a:gs pos="98000">
                <a:srgbClr val="96148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en-US" sz="140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DCDB24E5-50DF-AB48-84B3-580C5F8120F5}" type="datetime1">
              <a:rPr lang="de-DE" smtClean="0"/>
              <a:t>08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1" name="Number">
            <a:extLst>
              <a:ext uri="{FF2B5EF4-FFF2-40B4-BE49-F238E27FC236}">
                <a16:creationId xmlns:a16="http://schemas.microsoft.com/office/drawing/2014/main" id="{7700F044-4E4D-F142-70CF-491ED467D8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999" y="4134434"/>
            <a:ext cx="2520000" cy="2723566"/>
          </a:xfrm>
        </p:spPr>
        <p:txBody>
          <a:bodyPr wrap="none">
            <a:noAutofit/>
          </a:bodyPr>
          <a:lstStyle>
            <a:lvl1pPr>
              <a:defRPr sz="16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999" y="512763"/>
            <a:ext cx="11232575" cy="1809647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70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 err="1"/>
              <a:t>titel</a:t>
            </a:r>
            <a:r>
              <a:rPr lang="de-DE" dirty="0"/>
              <a:t> des </a:t>
            </a:r>
            <a:r>
              <a:rPr lang="de-DE" dirty="0" err="1"/>
              <a:t>kapitels</a:t>
            </a:r>
            <a:endParaRPr lang="de-DE" dirty="0"/>
          </a:p>
        </p:txBody>
      </p:sp>
      <p:pic>
        <p:nvPicPr>
          <p:cNvPr id="6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EC079F7D-79FF-41AB-124C-407E69AFC13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ECF06861-9D4E-FDEF-993D-96CA6FA8BC5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986D6CD-FB18-19C2-A75E-33EDA5AF8E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4" y="2331936"/>
            <a:ext cx="6444668" cy="1557151"/>
          </a:xfrm>
        </p:spPr>
        <p:txBody>
          <a:bodyPr/>
          <a:lstStyle>
            <a:lvl1pPr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81279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mage">
            <a:extLst>
              <a:ext uri="{FF2B5EF4-FFF2-40B4-BE49-F238E27FC236}">
                <a16:creationId xmlns:a16="http://schemas.microsoft.com/office/drawing/2014/main" id="{2D008FD9-6F72-6E1D-DD0B-A041002F0B3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rgbClr val="999999"/>
          </a:solidFill>
        </p:spPr>
        <p:txBody>
          <a:bodyPr tIns="3600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C2EE32AD-0752-744D-B6FE-A4C1BE5DF0E1}" type="datetime1">
              <a:rPr lang="de-DE" smtClean="0"/>
              <a:t>08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1" name="Number">
            <a:extLst>
              <a:ext uri="{FF2B5EF4-FFF2-40B4-BE49-F238E27FC236}">
                <a16:creationId xmlns:a16="http://schemas.microsoft.com/office/drawing/2014/main" id="{7700F044-4E4D-F142-70CF-491ED467D8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999" y="4134434"/>
            <a:ext cx="2520000" cy="2723566"/>
          </a:xfrm>
        </p:spPr>
        <p:txBody>
          <a:bodyPr wrap="none">
            <a:noAutofit/>
          </a:bodyPr>
          <a:lstStyle>
            <a:lvl1pPr>
              <a:defRPr sz="16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999" y="512763"/>
            <a:ext cx="11232575" cy="1819173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70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 err="1"/>
              <a:t>titel</a:t>
            </a:r>
            <a:r>
              <a:rPr lang="de-DE" dirty="0"/>
              <a:t> des </a:t>
            </a:r>
            <a:r>
              <a:rPr lang="de-DE" dirty="0" err="1"/>
              <a:t>kapitels</a:t>
            </a:r>
            <a:endParaRPr lang="de-DE" dirty="0"/>
          </a:p>
        </p:txBody>
      </p:sp>
      <p:pic>
        <p:nvPicPr>
          <p:cNvPr id="6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E1DE837E-4AC1-1B52-FD1F-FF041FBEE3F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7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FBDEFF21-870F-0D9C-E524-8E876F8EEAE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7E3AB64-3C77-CE4A-0503-7D8207B8D8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9425" y="2331936"/>
            <a:ext cx="5976615" cy="1547626"/>
          </a:xfrm>
        </p:spPr>
        <p:txBody>
          <a:bodyPr/>
          <a:lstStyle>
            <a:lvl1pPr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05513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4215170-0B6B-5D5C-3956-42FA14BA3E66}"/>
              </a:ext>
            </a:extLst>
          </p:cNvPr>
          <p:cNvSpPr/>
          <p:nvPr userDrawn="1"/>
        </p:nvSpPr>
        <p:spPr>
          <a:xfrm>
            <a:off x="0" y="-1"/>
            <a:ext cx="6275388" cy="6858000"/>
          </a:xfrm>
          <a:prstGeom prst="rect">
            <a:avLst/>
          </a:prstGeom>
          <a:gradFill flip="none" rotWithShape="1">
            <a:gsLst>
              <a:gs pos="63000">
                <a:srgbClr val="EA1B0A"/>
              </a:gs>
              <a:gs pos="100000">
                <a:srgbClr val="961482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en-US" sz="140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D5E0F0B2-06FB-E449-A0E9-9299E25AD56D}" type="datetime1">
              <a:rPr lang="de-DE" smtClean="0"/>
              <a:t>08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Image">
            <a:extLst>
              <a:ext uri="{FF2B5EF4-FFF2-40B4-BE49-F238E27FC236}">
                <a16:creationId xmlns:a16="http://schemas.microsoft.com/office/drawing/2014/main" id="{2D008FD9-6F72-6E1D-DD0B-A041002F0B3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5388" y="0"/>
            <a:ext cx="5916612" cy="6857999"/>
          </a:xfrm>
          <a:solidFill>
            <a:srgbClr val="999999"/>
          </a:solidFill>
        </p:spPr>
        <p:txBody>
          <a:bodyPr tIns="3600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1" name="Number">
            <a:extLst>
              <a:ext uri="{FF2B5EF4-FFF2-40B4-BE49-F238E27FC236}">
                <a16:creationId xmlns:a16="http://schemas.microsoft.com/office/drawing/2014/main" id="{7700F044-4E4D-F142-70CF-491ED467D8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999" y="4134434"/>
            <a:ext cx="2520000" cy="2723566"/>
          </a:xfrm>
        </p:spPr>
        <p:txBody>
          <a:bodyPr wrap="none">
            <a:noAutofit/>
          </a:bodyPr>
          <a:lstStyle>
            <a:lvl1pPr>
              <a:defRPr sz="16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5436613" cy="2916236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70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/>
              <a:t>Mastertitel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pic>
        <p:nvPicPr>
          <p:cNvPr id="6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B16AC418-7DF3-FC4A-3FE3-EB675B6D8F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7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1DAE23C1-FA80-8A1B-7E1D-9EF6DB6801A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024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8438835-2655-8DCA-404E-79083CC384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73000">
                <a:srgbClr val="EA1B0A"/>
              </a:gs>
              <a:gs pos="100000">
                <a:srgbClr val="961482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en-US" sz="140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D89DC9A-FBE8-D440-F9E1-B90DCE3E7EC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D488086D-EEA1-CF4E-B791-0B497494499F}" type="datetime1">
              <a:rPr lang="de-DE" smtClean="0"/>
              <a:t>08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7627D1-B40C-E389-8DD5-0DD1E92EA48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5A4D41-9BDD-B66B-9FB7-CE532CA1E31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9" name="Contact information">
            <a:extLst>
              <a:ext uri="{FF2B5EF4-FFF2-40B4-BE49-F238E27FC236}">
                <a16:creationId xmlns:a16="http://schemas.microsoft.com/office/drawing/2014/main" id="{711219D6-CE9D-0F40-A923-24FB0FE247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000" y="3212976"/>
            <a:ext cx="5436000" cy="235385"/>
          </a:xfrm>
        </p:spPr>
        <p:txBody>
          <a:bodyPr>
            <a:noAutofit/>
          </a:bodyPr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contact</a:t>
            </a:r>
            <a:r>
              <a:rPr lang="de-DE"/>
              <a:t> Information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33495D4A-F00D-763A-E57E-AF2EFD0C6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2865600"/>
            <a:ext cx="5436000" cy="302647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name</a:t>
            </a:r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9906940-4A55-7491-73FA-F7C757B94F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4"/>
            <a:ext cx="9288001" cy="689469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 err="1"/>
              <a:t>edit</a:t>
            </a:r>
            <a:r>
              <a:rPr lang="de-DE" dirty="0"/>
              <a:t> </a:t>
            </a:r>
            <a:r>
              <a:rPr lang="de-DE" dirty="0" err="1"/>
              <a:t>closing</a:t>
            </a:r>
            <a:r>
              <a:rPr lang="de-DE" dirty="0"/>
              <a:t> </a:t>
            </a:r>
            <a:r>
              <a:rPr lang="de-DE" dirty="0" err="1"/>
              <a:t>statement</a:t>
            </a:r>
            <a:endParaRPr lang="de-DE" dirty="0"/>
          </a:p>
        </p:txBody>
      </p:sp>
      <p:pic>
        <p:nvPicPr>
          <p:cNvPr id="11" name="MIO_AGENDA_LAST_SLIDE" descr="Schließen mit einfarbiger Füllung" hidden="1">
            <a:extLst>
              <a:ext uri="{FF2B5EF4-FFF2-40B4-BE49-F238E27FC236}">
                <a16:creationId xmlns:a16="http://schemas.microsoft.com/office/drawing/2014/main" id="{63464D1A-B18E-D090-1C9D-E945B394C3E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2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E5083936-085C-48AA-540F-DA08BAD5EEE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3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91DF28A4-A76B-1B84-FFC1-3596AF8A00A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FC7B165-BDDA-78D9-22D2-E6CC395C0CF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9425" y="1202233"/>
            <a:ext cx="9288001" cy="635639"/>
          </a:xfrm>
        </p:spPr>
        <p:txBody>
          <a:bodyPr/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E.ON Logo">
            <a:extLst>
              <a:ext uri="{FF2B5EF4-FFF2-40B4-BE49-F238E27FC236}">
                <a16:creationId xmlns:a16="http://schemas.microsoft.com/office/drawing/2014/main" id="{404EC8AB-7FB9-DD09-32D3-29B6F4B7B61F}"/>
              </a:ext>
            </a:extLst>
          </p:cNvPr>
          <p:cNvSpPr/>
          <p:nvPr userDrawn="1"/>
        </p:nvSpPr>
        <p:spPr>
          <a:xfrm>
            <a:off x="479425" y="5891141"/>
            <a:ext cx="1646555" cy="454095"/>
          </a:xfrm>
          <a:custGeom>
            <a:avLst/>
            <a:gdLst>
              <a:gd name="connsiteX0" fmla="*/ 1202810 w 1761324"/>
              <a:gd name="connsiteY0" fmla="*/ 180152 h 485747"/>
              <a:gd name="connsiteX1" fmla="*/ 1141362 w 1761324"/>
              <a:gd name="connsiteY1" fmla="*/ 352260 h 485747"/>
              <a:gd name="connsiteX2" fmla="*/ 957018 w 1761324"/>
              <a:gd name="connsiteY2" fmla="*/ 475637 h 485747"/>
              <a:gd name="connsiteX3" fmla="*/ 731528 w 1761324"/>
              <a:gd name="connsiteY3" fmla="*/ 367812 h 485747"/>
              <a:gd name="connsiteX4" fmla="*/ 793529 w 1761324"/>
              <a:gd name="connsiteY4" fmla="*/ 213329 h 485747"/>
              <a:gd name="connsiteX5" fmla="*/ 1135331 w 1761324"/>
              <a:gd name="connsiteY5" fmla="*/ 103429 h 485747"/>
              <a:gd name="connsiteX6" fmla="*/ 1202810 w 1761324"/>
              <a:gd name="connsiteY6" fmla="*/ 180151 h 485747"/>
              <a:gd name="connsiteX7" fmla="*/ 1202810 w 1761324"/>
              <a:gd name="connsiteY7" fmla="*/ 180152 h 485747"/>
              <a:gd name="connsiteX8" fmla="*/ 994873 w 1761324"/>
              <a:gd name="connsiteY8" fmla="*/ 185336 h 485747"/>
              <a:gd name="connsiteX9" fmla="*/ 911486 w 1761324"/>
              <a:gd name="connsiteY9" fmla="*/ 314417 h 485747"/>
              <a:gd name="connsiteX10" fmla="*/ 920810 w 1761324"/>
              <a:gd name="connsiteY10" fmla="*/ 388547 h 485747"/>
              <a:gd name="connsiteX11" fmla="*/ 1017374 w 1761324"/>
              <a:gd name="connsiteY11" fmla="*/ 270871 h 485747"/>
              <a:gd name="connsiteX12" fmla="*/ 1027243 w 1761324"/>
              <a:gd name="connsiteY12" fmla="*/ 198814 h 485747"/>
              <a:gd name="connsiteX13" fmla="*/ 994873 w 1761324"/>
              <a:gd name="connsiteY13" fmla="*/ 185337 h 485747"/>
              <a:gd name="connsiteX14" fmla="*/ 994873 w 1761324"/>
              <a:gd name="connsiteY14" fmla="*/ 185336 h 485747"/>
              <a:gd name="connsiteX15" fmla="*/ 556517 w 1761324"/>
              <a:gd name="connsiteY15" fmla="*/ 188965 h 485747"/>
              <a:gd name="connsiteX16" fmla="*/ 317310 w 1761324"/>
              <a:gd name="connsiteY16" fmla="*/ 319601 h 485747"/>
              <a:gd name="connsiteX17" fmla="*/ 173567 w 1761324"/>
              <a:gd name="connsiteY17" fmla="*/ 316492 h 485747"/>
              <a:gd name="connsiteX18" fmla="*/ 220751 w 1761324"/>
              <a:gd name="connsiteY18" fmla="*/ 392177 h 485747"/>
              <a:gd name="connsiteX19" fmla="*/ 368883 w 1761324"/>
              <a:gd name="connsiteY19" fmla="*/ 371439 h 485747"/>
              <a:gd name="connsiteX20" fmla="*/ 536766 w 1761324"/>
              <a:gd name="connsiteY20" fmla="*/ 417060 h 485747"/>
              <a:gd name="connsiteX21" fmla="*/ 397410 w 1761324"/>
              <a:gd name="connsiteY21" fmla="*/ 478231 h 485747"/>
              <a:gd name="connsiteX22" fmla="*/ 22692 w 1761324"/>
              <a:gd name="connsiteY22" fmla="*/ 223697 h 485747"/>
              <a:gd name="connsiteX23" fmla="*/ 402897 w 1761324"/>
              <a:gd name="connsiteY23" fmla="*/ 5453 h 485747"/>
              <a:gd name="connsiteX24" fmla="*/ 441303 w 1761324"/>
              <a:gd name="connsiteY24" fmla="*/ 269 h 485747"/>
              <a:gd name="connsiteX25" fmla="*/ 556517 w 1761324"/>
              <a:gd name="connsiteY25" fmla="*/ 188966 h 485747"/>
              <a:gd name="connsiteX26" fmla="*/ 556517 w 1761324"/>
              <a:gd name="connsiteY26" fmla="*/ 188965 h 485747"/>
              <a:gd name="connsiteX27" fmla="*/ 413323 w 1761324"/>
              <a:gd name="connsiteY27" fmla="*/ 177560 h 485747"/>
              <a:gd name="connsiteX28" fmla="*/ 409481 w 1761324"/>
              <a:gd name="connsiteY28" fmla="*/ 138680 h 485747"/>
              <a:gd name="connsiteX29" fmla="*/ 217459 w 1761324"/>
              <a:gd name="connsiteY29" fmla="*/ 221624 h 485747"/>
              <a:gd name="connsiteX30" fmla="*/ 220202 w 1761324"/>
              <a:gd name="connsiteY30" fmla="*/ 226290 h 485747"/>
              <a:gd name="connsiteX31" fmla="*/ 377660 w 1761324"/>
              <a:gd name="connsiteY31" fmla="*/ 225771 h 485747"/>
              <a:gd name="connsiteX32" fmla="*/ 413323 w 1761324"/>
              <a:gd name="connsiteY32" fmla="*/ 177560 h 485747"/>
              <a:gd name="connsiteX33" fmla="*/ 413323 w 1761324"/>
              <a:gd name="connsiteY33" fmla="*/ 177560 h 485747"/>
              <a:gd name="connsiteX34" fmla="*/ 717816 w 1761324"/>
              <a:gd name="connsiteY34" fmla="*/ 250654 h 485747"/>
              <a:gd name="connsiteX35" fmla="*/ 684348 w 1761324"/>
              <a:gd name="connsiteY35" fmla="*/ 320118 h 485747"/>
              <a:gd name="connsiteX36" fmla="*/ 586143 w 1761324"/>
              <a:gd name="connsiteY36" fmla="*/ 286942 h 485747"/>
              <a:gd name="connsiteX37" fmla="*/ 696419 w 1761324"/>
              <a:gd name="connsiteY37" fmla="*/ 224216 h 485747"/>
              <a:gd name="connsiteX38" fmla="*/ 717816 w 1761324"/>
              <a:gd name="connsiteY38" fmla="*/ 250654 h 485747"/>
              <a:gd name="connsiteX39" fmla="*/ 717816 w 1761324"/>
              <a:gd name="connsiteY39" fmla="*/ 250654 h 485747"/>
              <a:gd name="connsiteX40" fmla="*/ 1761317 w 1761324"/>
              <a:gd name="connsiteY40" fmla="*/ 180670 h 485747"/>
              <a:gd name="connsiteX41" fmla="*/ 1754740 w 1761324"/>
              <a:gd name="connsiteY41" fmla="*/ 224216 h 485747"/>
              <a:gd name="connsiteX42" fmla="*/ 1674638 w 1761324"/>
              <a:gd name="connsiteY42" fmla="*/ 465271 h 485747"/>
              <a:gd name="connsiteX43" fmla="*/ 1566550 w 1761324"/>
              <a:gd name="connsiteY43" fmla="*/ 460605 h 485747"/>
              <a:gd name="connsiteX44" fmla="*/ 1592889 w 1761324"/>
              <a:gd name="connsiteY44" fmla="*/ 363664 h 485747"/>
              <a:gd name="connsiteX45" fmla="*/ 1608797 w 1761324"/>
              <a:gd name="connsiteY45" fmla="*/ 227846 h 485747"/>
              <a:gd name="connsiteX46" fmla="*/ 1573689 w 1761324"/>
              <a:gd name="connsiteY46" fmla="*/ 232511 h 485747"/>
              <a:gd name="connsiteX47" fmla="*/ 1288943 w 1761324"/>
              <a:gd name="connsiteY47" fmla="*/ 463715 h 485747"/>
              <a:gd name="connsiteX48" fmla="*/ 1190194 w 1761324"/>
              <a:gd name="connsiteY48" fmla="*/ 459569 h 485747"/>
              <a:gd name="connsiteX49" fmla="*/ 1189094 w 1761324"/>
              <a:gd name="connsiteY49" fmla="*/ 446608 h 485747"/>
              <a:gd name="connsiteX50" fmla="*/ 1305951 w 1761324"/>
              <a:gd name="connsiteY50" fmla="*/ 131941 h 485747"/>
              <a:gd name="connsiteX51" fmla="*/ 1407454 w 1761324"/>
              <a:gd name="connsiteY51" fmla="*/ 127795 h 485747"/>
              <a:gd name="connsiteX52" fmla="*/ 1439816 w 1761324"/>
              <a:gd name="connsiteY52" fmla="*/ 188966 h 485747"/>
              <a:gd name="connsiteX53" fmla="*/ 1758578 w 1761324"/>
              <a:gd name="connsiteY53" fmla="*/ 157863 h 485747"/>
              <a:gd name="connsiteX54" fmla="*/ 1761325 w 1761324"/>
              <a:gd name="connsiteY54" fmla="*/ 180670 h 485747"/>
              <a:gd name="connsiteX55" fmla="*/ 1761317 w 1761324"/>
              <a:gd name="connsiteY55" fmla="*/ 180670 h 485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761324" h="485747">
                <a:moveTo>
                  <a:pt x="1202810" y="180152"/>
                </a:moveTo>
                <a:cubicBezTo>
                  <a:pt x="1202810" y="234243"/>
                  <a:pt x="1167140" y="305309"/>
                  <a:pt x="1141362" y="352260"/>
                </a:cubicBezTo>
                <a:cubicBezTo>
                  <a:pt x="1100865" y="426143"/>
                  <a:pt x="1046092" y="470415"/>
                  <a:pt x="957018" y="475637"/>
                </a:cubicBezTo>
                <a:cubicBezTo>
                  <a:pt x="878293" y="480251"/>
                  <a:pt x="700356" y="493166"/>
                  <a:pt x="731528" y="367812"/>
                </a:cubicBezTo>
                <a:cubicBezTo>
                  <a:pt x="745049" y="313545"/>
                  <a:pt x="775084" y="265733"/>
                  <a:pt x="793529" y="213329"/>
                </a:cubicBezTo>
                <a:cubicBezTo>
                  <a:pt x="855493" y="96504"/>
                  <a:pt x="1011440" y="74234"/>
                  <a:pt x="1135331" y="103429"/>
                </a:cubicBezTo>
                <a:cubicBezTo>
                  <a:pt x="1177264" y="117845"/>
                  <a:pt x="1199585" y="137137"/>
                  <a:pt x="1202810" y="180151"/>
                </a:cubicBezTo>
                <a:lnTo>
                  <a:pt x="1202810" y="180152"/>
                </a:lnTo>
                <a:close/>
                <a:moveTo>
                  <a:pt x="994873" y="185336"/>
                </a:moveTo>
                <a:cubicBezTo>
                  <a:pt x="931196" y="185336"/>
                  <a:pt x="923436" y="269327"/>
                  <a:pt x="911486" y="314417"/>
                </a:cubicBezTo>
                <a:cubicBezTo>
                  <a:pt x="908478" y="331458"/>
                  <a:pt x="888290" y="388547"/>
                  <a:pt x="920810" y="388547"/>
                </a:cubicBezTo>
                <a:cubicBezTo>
                  <a:pt x="997372" y="403097"/>
                  <a:pt x="1004496" y="323748"/>
                  <a:pt x="1017374" y="270871"/>
                </a:cubicBezTo>
                <a:cubicBezTo>
                  <a:pt x="1022103" y="251418"/>
                  <a:pt x="1031494" y="218781"/>
                  <a:pt x="1027243" y="198814"/>
                </a:cubicBezTo>
                <a:cubicBezTo>
                  <a:pt x="1027243" y="183962"/>
                  <a:pt x="1005327" y="186329"/>
                  <a:pt x="994873" y="185337"/>
                </a:cubicBezTo>
                <a:lnTo>
                  <a:pt x="994873" y="185336"/>
                </a:lnTo>
                <a:close/>
                <a:moveTo>
                  <a:pt x="556517" y="188965"/>
                </a:moveTo>
                <a:cubicBezTo>
                  <a:pt x="548660" y="331215"/>
                  <a:pt x="442921" y="320145"/>
                  <a:pt x="317310" y="319601"/>
                </a:cubicBezTo>
                <a:cubicBezTo>
                  <a:pt x="269574" y="319415"/>
                  <a:pt x="220757" y="316492"/>
                  <a:pt x="173567" y="316492"/>
                </a:cubicBezTo>
                <a:cubicBezTo>
                  <a:pt x="156154" y="333179"/>
                  <a:pt x="206568" y="383798"/>
                  <a:pt x="220751" y="392177"/>
                </a:cubicBezTo>
                <a:cubicBezTo>
                  <a:pt x="269164" y="420674"/>
                  <a:pt x="329910" y="408438"/>
                  <a:pt x="368883" y="371439"/>
                </a:cubicBezTo>
                <a:cubicBezTo>
                  <a:pt x="389821" y="371439"/>
                  <a:pt x="614559" y="343684"/>
                  <a:pt x="536766" y="417060"/>
                </a:cubicBezTo>
                <a:cubicBezTo>
                  <a:pt x="499114" y="448714"/>
                  <a:pt x="445844" y="467411"/>
                  <a:pt x="397410" y="478231"/>
                </a:cubicBezTo>
                <a:cubicBezTo>
                  <a:pt x="243304" y="512666"/>
                  <a:pt x="-89584" y="428957"/>
                  <a:pt x="22692" y="223697"/>
                </a:cubicBezTo>
                <a:cubicBezTo>
                  <a:pt x="99444" y="104339"/>
                  <a:pt x="265683" y="39072"/>
                  <a:pt x="402897" y="5453"/>
                </a:cubicBezTo>
                <a:cubicBezTo>
                  <a:pt x="415674" y="3038"/>
                  <a:pt x="428296" y="1180"/>
                  <a:pt x="441303" y="269"/>
                </a:cubicBezTo>
                <a:cubicBezTo>
                  <a:pt x="538928" y="-6619"/>
                  <a:pt x="556517" y="120689"/>
                  <a:pt x="556517" y="188966"/>
                </a:cubicBezTo>
                <a:lnTo>
                  <a:pt x="556517" y="188965"/>
                </a:lnTo>
                <a:close/>
                <a:moveTo>
                  <a:pt x="413323" y="177560"/>
                </a:moveTo>
                <a:cubicBezTo>
                  <a:pt x="413323" y="164695"/>
                  <a:pt x="413880" y="151090"/>
                  <a:pt x="409481" y="138680"/>
                </a:cubicBezTo>
                <a:cubicBezTo>
                  <a:pt x="394414" y="81319"/>
                  <a:pt x="236313" y="203809"/>
                  <a:pt x="217459" y="221624"/>
                </a:cubicBezTo>
                <a:cubicBezTo>
                  <a:pt x="215092" y="226128"/>
                  <a:pt x="216881" y="224732"/>
                  <a:pt x="220202" y="226290"/>
                </a:cubicBezTo>
                <a:cubicBezTo>
                  <a:pt x="272671" y="226290"/>
                  <a:pt x="325263" y="225771"/>
                  <a:pt x="377660" y="225771"/>
                </a:cubicBezTo>
                <a:cubicBezTo>
                  <a:pt x="412167" y="220389"/>
                  <a:pt x="413323" y="210466"/>
                  <a:pt x="413323" y="177560"/>
                </a:cubicBezTo>
                <a:lnTo>
                  <a:pt x="413323" y="177560"/>
                </a:lnTo>
                <a:close/>
                <a:moveTo>
                  <a:pt x="717816" y="250654"/>
                </a:moveTo>
                <a:cubicBezTo>
                  <a:pt x="705920" y="273291"/>
                  <a:pt x="708578" y="302987"/>
                  <a:pt x="684348" y="320118"/>
                </a:cubicBezTo>
                <a:cubicBezTo>
                  <a:pt x="651212" y="343544"/>
                  <a:pt x="567745" y="343608"/>
                  <a:pt x="586143" y="286942"/>
                </a:cubicBezTo>
                <a:cubicBezTo>
                  <a:pt x="603559" y="233072"/>
                  <a:pt x="636487" y="210160"/>
                  <a:pt x="696419" y="224216"/>
                </a:cubicBezTo>
                <a:cubicBezTo>
                  <a:pt x="711038" y="228842"/>
                  <a:pt x="714490" y="237992"/>
                  <a:pt x="717816" y="250654"/>
                </a:cubicBezTo>
                <a:lnTo>
                  <a:pt x="717816" y="250654"/>
                </a:lnTo>
                <a:close/>
                <a:moveTo>
                  <a:pt x="1761317" y="180670"/>
                </a:moveTo>
                <a:cubicBezTo>
                  <a:pt x="1761317" y="195172"/>
                  <a:pt x="1758099" y="210123"/>
                  <a:pt x="1754740" y="224216"/>
                </a:cubicBezTo>
                <a:cubicBezTo>
                  <a:pt x="1734933" y="306930"/>
                  <a:pt x="1702997" y="385622"/>
                  <a:pt x="1674638" y="465271"/>
                </a:cubicBezTo>
                <a:cubicBezTo>
                  <a:pt x="1648613" y="489859"/>
                  <a:pt x="1594513" y="476470"/>
                  <a:pt x="1566550" y="460605"/>
                </a:cubicBezTo>
                <a:cubicBezTo>
                  <a:pt x="1552565" y="447389"/>
                  <a:pt x="1587337" y="379960"/>
                  <a:pt x="1592889" y="363664"/>
                </a:cubicBezTo>
                <a:cubicBezTo>
                  <a:pt x="1601412" y="338636"/>
                  <a:pt x="1647962" y="246346"/>
                  <a:pt x="1608797" y="227846"/>
                </a:cubicBezTo>
                <a:cubicBezTo>
                  <a:pt x="1596204" y="227846"/>
                  <a:pt x="1586185" y="229404"/>
                  <a:pt x="1573689" y="232511"/>
                </a:cubicBezTo>
                <a:cubicBezTo>
                  <a:pt x="1456495" y="271279"/>
                  <a:pt x="1373310" y="383999"/>
                  <a:pt x="1288943" y="463715"/>
                </a:cubicBezTo>
                <a:cubicBezTo>
                  <a:pt x="1252375" y="481114"/>
                  <a:pt x="1226118" y="476662"/>
                  <a:pt x="1190194" y="459569"/>
                </a:cubicBezTo>
                <a:cubicBezTo>
                  <a:pt x="1186624" y="456202"/>
                  <a:pt x="1188353" y="450850"/>
                  <a:pt x="1189094" y="446608"/>
                </a:cubicBezTo>
                <a:cubicBezTo>
                  <a:pt x="1216278" y="339317"/>
                  <a:pt x="1259274" y="232942"/>
                  <a:pt x="1305951" y="131941"/>
                </a:cubicBezTo>
                <a:cubicBezTo>
                  <a:pt x="1313291" y="111320"/>
                  <a:pt x="1388747" y="118961"/>
                  <a:pt x="1407454" y="127795"/>
                </a:cubicBezTo>
                <a:cubicBezTo>
                  <a:pt x="1407454" y="150635"/>
                  <a:pt x="1404917" y="188966"/>
                  <a:pt x="1439816" y="188966"/>
                </a:cubicBezTo>
                <a:cubicBezTo>
                  <a:pt x="1518130" y="180810"/>
                  <a:pt x="1710008" y="20195"/>
                  <a:pt x="1758578" y="157863"/>
                </a:cubicBezTo>
                <a:cubicBezTo>
                  <a:pt x="1759955" y="165636"/>
                  <a:pt x="1761325" y="172682"/>
                  <a:pt x="1761325" y="180670"/>
                </a:cubicBezTo>
                <a:lnTo>
                  <a:pt x="1761317" y="180670"/>
                </a:lnTo>
                <a:close/>
              </a:path>
            </a:pathLst>
          </a:custGeom>
          <a:solidFill>
            <a:schemeClr val="bg1"/>
          </a:solidFill>
          <a:ln w="7461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65157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with large Imag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mage">
            <a:extLst>
              <a:ext uri="{FF2B5EF4-FFF2-40B4-BE49-F238E27FC236}">
                <a16:creationId xmlns:a16="http://schemas.microsoft.com/office/drawing/2014/main" id="{80AC49D3-6A5A-9774-4531-1B486B7E76B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  <a:solidFill>
            <a:srgbClr val="999999"/>
          </a:solidFill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de-DE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D89DC9A-FBE8-D440-F9E1-B90DCE3E7EC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E1661ABF-B6C1-304A-B785-E576099AC068}" type="datetime1">
              <a:rPr lang="de-DE" smtClean="0"/>
              <a:t>08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7627D1-B40C-E389-8DD5-0DD1E92EA48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5A4D41-9BDD-B66B-9FB7-CE532CA1E31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9" name="Contact information">
            <a:extLst>
              <a:ext uri="{FF2B5EF4-FFF2-40B4-BE49-F238E27FC236}">
                <a16:creationId xmlns:a16="http://schemas.microsoft.com/office/drawing/2014/main" id="{711219D6-CE9D-0F40-A923-24FB0FE247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000" y="3212976"/>
            <a:ext cx="5436000" cy="235385"/>
          </a:xfrm>
        </p:spPr>
        <p:txBody>
          <a:bodyPr>
            <a:noAutofit/>
          </a:bodyPr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Edit </a:t>
            </a:r>
            <a:r>
              <a:rPr lang="de-DE" dirty="0" err="1"/>
              <a:t>contact</a:t>
            </a:r>
            <a:r>
              <a:rPr lang="de-DE" dirty="0"/>
              <a:t> Information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33495D4A-F00D-763A-E57E-AF2EFD0C6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2865600"/>
            <a:ext cx="5436000" cy="302647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Edit </a:t>
            </a:r>
            <a:r>
              <a:rPr lang="de-DE" dirty="0" err="1"/>
              <a:t>name</a:t>
            </a:r>
            <a:endParaRPr lang="de-DE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9906940-4A55-7491-73FA-F7C757B94F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11232575" cy="68947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 err="1"/>
              <a:t>edit</a:t>
            </a:r>
            <a:r>
              <a:rPr lang="de-DE" dirty="0"/>
              <a:t> </a:t>
            </a:r>
            <a:r>
              <a:rPr lang="de-DE" dirty="0" err="1"/>
              <a:t>closing</a:t>
            </a:r>
            <a:r>
              <a:rPr lang="de-DE" dirty="0"/>
              <a:t> </a:t>
            </a:r>
            <a:r>
              <a:rPr lang="de-DE" dirty="0" err="1"/>
              <a:t>statement</a:t>
            </a:r>
            <a:endParaRPr lang="de-DE" dirty="0"/>
          </a:p>
        </p:txBody>
      </p:sp>
      <p:pic>
        <p:nvPicPr>
          <p:cNvPr id="6" name="MIO_AGENDA_LAST_SLIDE" descr="Schließen mit einfarbiger Füllung" hidden="1">
            <a:extLst>
              <a:ext uri="{FF2B5EF4-FFF2-40B4-BE49-F238E27FC236}">
                <a16:creationId xmlns:a16="http://schemas.microsoft.com/office/drawing/2014/main" id="{69DA9C75-51A0-D606-2C11-77CC23F8A7A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0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562B9F09-1353-EC0F-B9A1-A281ABA9EDB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1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04437E0E-F58E-840C-4CA1-5A20337C183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23D6592-F4E3-3941-7D9D-531EB3FA894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9425" y="1202233"/>
            <a:ext cx="11233150" cy="679907"/>
          </a:xfr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BE398898-6226-AF23-EBB4-8146744ED0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5891142"/>
            <a:ext cx="1646555" cy="454095"/>
          </a:xfrm>
          <a:custGeom>
            <a:avLst/>
            <a:gdLst>
              <a:gd name="connsiteX0" fmla="*/ 738049 w 1980551"/>
              <a:gd name="connsiteY0" fmla="*/ 247957 h 546206"/>
              <a:gd name="connsiteX1" fmla="*/ 783101 w 1980551"/>
              <a:gd name="connsiteY1" fmla="*/ 252123 h 546206"/>
              <a:gd name="connsiteX2" fmla="*/ 807161 w 1980551"/>
              <a:gd name="connsiteY2" fmla="*/ 281851 h 546206"/>
              <a:gd name="connsiteX3" fmla="*/ 769527 w 1980551"/>
              <a:gd name="connsiteY3" fmla="*/ 359961 h 546206"/>
              <a:gd name="connsiteX4" fmla="*/ 659099 w 1980551"/>
              <a:gd name="connsiteY4" fmla="*/ 322656 h 546206"/>
              <a:gd name="connsiteX5" fmla="*/ 738049 w 1980551"/>
              <a:gd name="connsiteY5" fmla="*/ 247957 h 546206"/>
              <a:gd name="connsiteX6" fmla="*/ 625785 w 1980551"/>
              <a:gd name="connsiteY6" fmla="*/ 212484 h 546206"/>
              <a:gd name="connsiteX7" fmla="*/ 625785 w 1980551"/>
              <a:gd name="connsiteY7" fmla="*/ 212485 h 546206"/>
              <a:gd name="connsiteX8" fmla="*/ 625785 w 1980551"/>
              <a:gd name="connsiteY8" fmla="*/ 212484 h 546206"/>
              <a:gd name="connsiteX9" fmla="*/ 1118702 w 1980551"/>
              <a:gd name="connsiteY9" fmla="*/ 208403 h 546206"/>
              <a:gd name="connsiteX10" fmla="*/ 1024936 w 1980551"/>
              <a:gd name="connsiteY10" fmla="*/ 353550 h 546206"/>
              <a:gd name="connsiteX11" fmla="*/ 1035421 w 1980551"/>
              <a:gd name="connsiteY11" fmla="*/ 436907 h 546206"/>
              <a:gd name="connsiteX12" fmla="*/ 1144003 w 1980551"/>
              <a:gd name="connsiteY12" fmla="*/ 304584 h 546206"/>
              <a:gd name="connsiteX13" fmla="*/ 1155101 w 1980551"/>
              <a:gd name="connsiteY13" fmla="*/ 223559 h 546206"/>
              <a:gd name="connsiteX14" fmla="*/ 1118702 w 1980551"/>
              <a:gd name="connsiteY14" fmla="*/ 208404 h 546206"/>
              <a:gd name="connsiteX15" fmla="*/ 422544 w 1980551"/>
              <a:gd name="connsiteY15" fmla="*/ 140485 h 546206"/>
              <a:gd name="connsiteX16" fmla="*/ 244526 w 1980551"/>
              <a:gd name="connsiteY16" fmla="*/ 249208 h 546206"/>
              <a:gd name="connsiteX17" fmla="*/ 247611 w 1980551"/>
              <a:gd name="connsiteY17" fmla="*/ 254455 h 546206"/>
              <a:gd name="connsiteX18" fmla="*/ 424667 w 1980551"/>
              <a:gd name="connsiteY18" fmla="*/ 253871 h 546206"/>
              <a:gd name="connsiteX19" fmla="*/ 464769 w 1980551"/>
              <a:gd name="connsiteY19" fmla="*/ 199659 h 546206"/>
              <a:gd name="connsiteX20" fmla="*/ 460448 w 1980551"/>
              <a:gd name="connsiteY20" fmla="*/ 155940 h 546206"/>
              <a:gd name="connsiteX21" fmla="*/ 422544 w 1980551"/>
              <a:gd name="connsiteY21" fmla="*/ 140485 h 546206"/>
              <a:gd name="connsiteX22" fmla="*/ 1910799 w 1980551"/>
              <a:gd name="connsiteY22" fmla="*/ 116378 h 546206"/>
              <a:gd name="connsiteX23" fmla="*/ 1977462 w 1980551"/>
              <a:gd name="connsiteY23" fmla="*/ 177511 h 546206"/>
              <a:gd name="connsiteX24" fmla="*/ 1980551 w 1980551"/>
              <a:gd name="connsiteY24" fmla="*/ 203157 h 546206"/>
              <a:gd name="connsiteX25" fmla="*/ 1980542 w 1980551"/>
              <a:gd name="connsiteY25" fmla="*/ 203157 h 546206"/>
              <a:gd name="connsiteX26" fmla="*/ 1973147 w 1980551"/>
              <a:gd name="connsiteY26" fmla="*/ 252123 h 546206"/>
              <a:gd name="connsiteX27" fmla="*/ 1883075 w 1980551"/>
              <a:gd name="connsiteY27" fmla="*/ 523181 h 546206"/>
              <a:gd name="connsiteX28" fmla="*/ 1761533 w 1980551"/>
              <a:gd name="connsiteY28" fmla="*/ 517934 h 546206"/>
              <a:gd name="connsiteX29" fmla="*/ 1791151 w 1980551"/>
              <a:gd name="connsiteY29" fmla="*/ 408927 h 546206"/>
              <a:gd name="connsiteX30" fmla="*/ 1809039 w 1980551"/>
              <a:gd name="connsiteY30" fmla="*/ 256204 h 546206"/>
              <a:gd name="connsiteX31" fmla="*/ 1769561 w 1980551"/>
              <a:gd name="connsiteY31" fmla="*/ 261450 h 546206"/>
              <a:gd name="connsiteX32" fmla="*/ 1449374 w 1980551"/>
              <a:gd name="connsiteY32" fmla="*/ 521431 h 546206"/>
              <a:gd name="connsiteX33" fmla="*/ 1338334 w 1980551"/>
              <a:gd name="connsiteY33" fmla="*/ 516769 h 546206"/>
              <a:gd name="connsiteX34" fmla="*/ 1337097 w 1980551"/>
              <a:gd name="connsiteY34" fmla="*/ 502195 h 546206"/>
              <a:gd name="connsiteX35" fmla="*/ 1468499 w 1980551"/>
              <a:gd name="connsiteY35" fmla="*/ 148362 h 546206"/>
              <a:gd name="connsiteX36" fmla="*/ 1582635 w 1980551"/>
              <a:gd name="connsiteY36" fmla="*/ 143700 h 546206"/>
              <a:gd name="connsiteX37" fmla="*/ 1619025 w 1980551"/>
              <a:gd name="connsiteY37" fmla="*/ 212485 h 546206"/>
              <a:gd name="connsiteX38" fmla="*/ 1910799 w 1980551"/>
              <a:gd name="connsiteY38" fmla="*/ 116378 h 546206"/>
              <a:gd name="connsiteX39" fmla="*/ 1167615 w 1980551"/>
              <a:gd name="connsiteY39" fmla="*/ 103288 h 546206"/>
              <a:gd name="connsiteX40" fmla="*/ 1276642 w 1980551"/>
              <a:gd name="connsiteY40" fmla="*/ 116302 h 546206"/>
              <a:gd name="connsiteX41" fmla="*/ 1352520 w 1980551"/>
              <a:gd name="connsiteY41" fmla="*/ 202573 h 546206"/>
              <a:gd name="connsiteX42" fmla="*/ 1352520 w 1980551"/>
              <a:gd name="connsiteY42" fmla="*/ 202574 h 546206"/>
              <a:gd name="connsiteX43" fmla="*/ 1283424 w 1980551"/>
              <a:gd name="connsiteY43" fmla="*/ 396104 h 546206"/>
              <a:gd name="connsiteX44" fmla="*/ 1076135 w 1980551"/>
              <a:gd name="connsiteY44" fmla="*/ 534837 h 546206"/>
              <a:gd name="connsiteX45" fmla="*/ 822579 w 1980551"/>
              <a:gd name="connsiteY45" fmla="*/ 413591 h 546206"/>
              <a:gd name="connsiteX46" fmla="*/ 892297 w 1980551"/>
              <a:gd name="connsiteY46" fmla="*/ 239880 h 546206"/>
              <a:gd name="connsiteX47" fmla="*/ 1167615 w 1980551"/>
              <a:gd name="connsiteY47" fmla="*/ 103288 h 546206"/>
              <a:gd name="connsiteX48" fmla="*/ 496231 w 1980551"/>
              <a:gd name="connsiteY48" fmla="*/ 302 h 546206"/>
              <a:gd name="connsiteX49" fmla="*/ 620979 w 1980551"/>
              <a:gd name="connsiteY49" fmla="*/ 145853 h 546206"/>
              <a:gd name="connsiteX50" fmla="*/ 625785 w 1980551"/>
              <a:gd name="connsiteY50" fmla="*/ 212484 h 546206"/>
              <a:gd name="connsiteX51" fmla="*/ 617484 w 1980551"/>
              <a:gd name="connsiteY51" fmla="*/ 264746 h 546206"/>
              <a:gd name="connsiteX52" fmla="*/ 356805 w 1980551"/>
              <a:gd name="connsiteY52" fmla="*/ 359380 h 546206"/>
              <a:gd name="connsiteX53" fmla="*/ 195171 w 1980551"/>
              <a:gd name="connsiteY53" fmla="*/ 355884 h 546206"/>
              <a:gd name="connsiteX54" fmla="*/ 248228 w 1980551"/>
              <a:gd name="connsiteY54" fmla="*/ 440989 h 546206"/>
              <a:gd name="connsiteX55" fmla="*/ 414797 w 1980551"/>
              <a:gd name="connsiteY55" fmla="*/ 417670 h 546206"/>
              <a:gd name="connsiteX56" fmla="*/ 603576 w 1980551"/>
              <a:gd name="connsiteY56" fmla="*/ 468969 h 546206"/>
              <a:gd name="connsiteX57" fmla="*/ 446875 w 1980551"/>
              <a:gd name="connsiteY57" fmla="*/ 537754 h 546206"/>
              <a:gd name="connsiteX58" fmla="*/ 25517 w 1980551"/>
              <a:gd name="connsiteY58" fmla="*/ 251539 h 546206"/>
              <a:gd name="connsiteX59" fmla="*/ 453045 w 1980551"/>
              <a:gd name="connsiteY59" fmla="*/ 6131 h 546206"/>
              <a:gd name="connsiteX60" fmla="*/ 496231 w 1980551"/>
              <a:gd name="connsiteY60" fmla="*/ 302 h 546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1980551" h="546206">
                <a:moveTo>
                  <a:pt x="738049" y="247957"/>
                </a:moveTo>
                <a:cubicBezTo>
                  <a:pt x="751303" y="246818"/>
                  <a:pt x="766253" y="248171"/>
                  <a:pt x="783101" y="252123"/>
                </a:cubicBezTo>
                <a:cubicBezTo>
                  <a:pt x="799539" y="257324"/>
                  <a:pt x="803421" y="267613"/>
                  <a:pt x="807161" y="281851"/>
                </a:cubicBezTo>
                <a:cubicBezTo>
                  <a:pt x="793784" y="307306"/>
                  <a:pt x="796773" y="340698"/>
                  <a:pt x="769527" y="359961"/>
                </a:cubicBezTo>
                <a:cubicBezTo>
                  <a:pt x="732267" y="386303"/>
                  <a:pt x="638411" y="386375"/>
                  <a:pt x="659099" y="322656"/>
                </a:cubicBezTo>
                <a:cubicBezTo>
                  <a:pt x="673787" y="277225"/>
                  <a:pt x="698286" y="251375"/>
                  <a:pt x="738049" y="247957"/>
                </a:cubicBezTo>
                <a:close/>
                <a:moveTo>
                  <a:pt x="625785" y="212484"/>
                </a:moveTo>
                <a:lnTo>
                  <a:pt x="625785" y="212485"/>
                </a:lnTo>
                <a:lnTo>
                  <a:pt x="625785" y="212484"/>
                </a:lnTo>
                <a:close/>
                <a:moveTo>
                  <a:pt x="1118702" y="208403"/>
                </a:moveTo>
                <a:cubicBezTo>
                  <a:pt x="1047099" y="208403"/>
                  <a:pt x="1038373" y="302848"/>
                  <a:pt x="1024936" y="353550"/>
                </a:cubicBezTo>
                <a:cubicBezTo>
                  <a:pt x="1021554" y="372712"/>
                  <a:pt x="998853" y="436907"/>
                  <a:pt x="1035421" y="436907"/>
                </a:cubicBezTo>
                <a:cubicBezTo>
                  <a:pt x="1121512" y="453268"/>
                  <a:pt x="1129523" y="364043"/>
                  <a:pt x="1144003" y="304584"/>
                </a:cubicBezTo>
                <a:cubicBezTo>
                  <a:pt x="1149321" y="282710"/>
                  <a:pt x="1159881" y="246011"/>
                  <a:pt x="1155101" y="223559"/>
                </a:cubicBezTo>
                <a:cubicBezTo>
                  <a:pt x="1155101" y="206858"/>
                  <a:pt x="1130457" y="209520"/>
                  <a:pt x="1118702" y="208404"/>
                </a:cubicBezTo>
                <a:close/>
                <a:moveTo>
                  <a:pt x="422544" y="140485"/>
                </a:moveTo>
                <a:cubicBezTo>
                  <a:pt x="364403" y="152951"/>
                  <a:pt x="260427" y="234184"/>
                  <a:pt x="244526" y="249208"/>
                </a:cubicBezTo>
                <a:cubicBezTo>
                  <a:pt x="241865" y="254272"/>
                  <a:pt x="243876" y="252703"/>
                  <a:pt x="247611" y="254455"/>
                </a:cubicBezTo>
                <a:cubicBezTo>
                  <a:pt x="306610" y="254455"/>
                  <a:pt x="365748" y="253871"/>
                  <a:pt x="424667" y="253871"/>
                </a:cubicBezTo>
                <a:cubicBezTo>
                  <a:pt x="463469" y="247819"/>
                  <a:pt x="464769" y="236661"/>
                  <a:pt x="464769" y="199659"/>
                </a:cubicBezTo>
                <a:cubicBezTo>
                  <a:pt x="464769" y="185193"/>
                  <a:pt x="465395" y="169895"/>
                  <a:pt x="460448" y="155940"/>
                </a:cubicBezTo>
                <a:cubicBezTo>
                  <a:pt x="456213" y="139815"/>
                  <a:pt x="441925" y="136330"/>
                  <a:pt x="422544" y="140485"/>
                </a:cubicBezTo>
                <a:close/>
                <a:moveTo>
                  <a:pt x="1910799" y="116378"/>
                </a:moveTo>
                <a:cubicBezTo>
                  <a:pt x="1940083" y="121072"/>
                  <a:pt x="1963808" y="138810"/>
                  <a:pt x="1977462" y="177511"/>
                </a:cubicBezTo>
                <a:cubicBezTo>
                  <a:pt x="1979011" y="186251"/>
                  <a:pt x="1980551" y="194174"/>
                  <a:pt x="1980551" y="203157"/>
                </a:cubicBezTo>
                <a:lnTo>
                  <a:pt x="1980542" y="203157"/>
                </a:lnTo>
                <a:cubicBezTo>
                  <a:pt x="1980542" y="219464"/>
                  <a:pt x="1976924" y="236275"/>
                  <a:pt x="1973147" y="252123"/>
                </a:cubicBezTo>
                <a:cubicBezTo>
                  <a:pt x="1950874" y="345132"/>
                  <a:pt x="1914963" y="433618"/>
                  <a:pt x="1883075" y="523181"/>
                </a:cubicBezTo>
                <a:cubicBezTo>
                  <a:pt x="1853810" y="550829"/>
                  <a:pt x="1792977" y="535774"/>
                  <a:pt x="1761533" y="517934"/>
                </a:cubicBezTo>
                <a:cubicBezTo>
                  <a:pt x="1745808" y="503073"/>
                  <a:pt x="1784907" y="427251"/>
                  <a:pt x="1791151" y="408927"/>
                </a:cubicBezTo>
                <a:cubicBezTo>
                  <a:pt x="1800734" y="380784"/>
                  <a:pt x="1853078" y="277007"/>
                  <a:pt x="1809039" y="256204"/>
                </a:cubicBezTo>
                <a:cubicBezTo>
                  <a:pt x="1794878" y="256204"/>
                  <a:pt x="1783612" y="257956"/>
                  <a:pt x="1769561" y="261450"/>
                </a:cubicBezTo>
                <a:cubicBezTo>
                  <a:pt x="1637780" y="305043"/>
                  <a:pt x="1544241" y="431793"/>
                  <a:pt x="1449374" y="521431"/>
                </a:cubicBezTo>
                <a:cubicBezTo>
                  <a:pt x="1408254" y="540996"/>
                  <a:pt x="1378729" y="535989"/>
                  <a:pt x="1338334" y="516769"/>
                </a:cubicBezTo>
                <a:cubicBezTo>
                  <a:pt x="1334319" y="512983"/>
                  <a:pt x="1336264" y="506965"/>
                  <a:pt x="1337097" y="502195"/>
                </a:cubicBezTo>
                <a:cubicBezTo>
                  <a:pt x="1367664" y="381550"/>
                  <a:pt x="1416012" y="261935"/>
                  <a:pt x="1468499" y="148362"/>
                </a:cubicBezTo>
                <a:cubicBezTo>
                  <a:pt x="1476752" y="125175"/>
                  <a:pt x="1561600" y="133767"/>
                  <a:pt x="1582635" y="143700"/>
                </a:cubicBezTo>
                <a:cubicBezTo>
                  <a:pt x="1582635" y="169383"/>
                  <a:pt x="1579782" y="212485"/>
                  <a:pt x="1619025" y="212485"/>
                </a:cubicBezTo>
                <a:cubicBezTo>
                  <a:pt x="1685071" y="205607"/>
                  <a:pt x="1822948" y="102296"/>
                  <a:pt x="1910799" y="116378"/>
                </a:cubicBezTo>
                <a:close/>
                <a:moveTo>
                  <a:pt x="1167615" y="103288"/>
                </a:moveTo>
                <a:cubicBezTo>
                  <a:pt x="1204734" y="103504"/>
                  <a:pt x="1241814" y="108095"/>
                  <a:pt x="1276642" y="116302"/>
                </a:cubicBezTo>
                <a:cubicBezTo>
                  <a:pt x="1323794" y="132512"/>
                  <a:pt x="1348894" y="154205"/>
                  <a:pt x="1352520" y="202573"/>
                </a:cubicBezTo>
                <a:lnTo>
                  <a:pt x="1352520" y="202574"/>
                </a:lnTo>
                <a:cubicBezTo>
                  <a:pt x="1352520" y="263398"/>
                  <a:pt x="1312410" y="343309"/>
                  <a:pt x="1283424" y="396104"/>
                </a:cubicBezTo>
                <a:cubicBezTo>
                  <a:pt x="1237886" y="479183"/>
                  <a:pt x="1176296" y="528965"/>
                  <a:pt x="1076135" y="534837"/>
                </a:cubicBezTo>
                <a:cubicBezTo>
                  <a:pt x="987612" y="540025"/>
                  <a:pt x="787527" y="554548"/>
                  <a:pt x="822579" y="413591"/>
                </a:cubicBezTo>
                <a:cubicBezTo>
                  <a:pt x="837783" y="352570"/>
                  <a:pt x="871557" y="298807"/>
                  <a:pt x="892297" y="239880"/>
                </a:cubicBezTo>
                <a:cubicBezTo>
                  <a:pt x="944555" y="141356"/>
                  <a:pt x="1056258" y="102639"/>
                  <a:pt x="1167615" y="103288"/>
                </a:cubicBezTo>
                <a:close/>
                <a:moveTo>
                  <a:pt x="496231" y="302"/>
                </a:moveTo>
                <a:cubicBezTo>
                  <a:pt x="578563" y="-5507"/>
                  <a:pt x="610271" y="73564"/>
                  <a:pt x="620979" y="145853"/>
                </a:cubicBezTo>
                <a:lnTo>
                  <a:pt x="625785" y="212484"/>
                </a:lnTo>
                <a:lnTo>
                  <a:pt x="617484" y="264746"/>
                </a:lnTo>
                <a:cubicBezTo>
                  <a:pt x="586877" y="369512"/>
                  <a:pt x="480395" y="359915"/>
                  <a:pt x="356805" y="359380"/>
                </a:cubicBezTo>
                <a:cubicBezTo>
                  <a:pt x="303128" y="359171"/>
                  <a:pt x="248235" y="355884"/>
                  <a:pt x="195171" y="355884"/>
                </a:cubicBezTo>
                <a:cubicBezTo>
                  <a:pt x="175591" y="374648"/>
                  <a:pt x="232280" y="431567"/>
                  <a:pt x="248228" y="440989"/>
                </a:cubicBezTo>
                <a:cubicBezTo>
                  <a:pt x="302667" y="473033"/>
                  <a:pt x="370974" y="459274"/>
                  <a:pt x="414797" y="417670"/>
                </a:cubicBezTo>
                <a:cubicBezTo>
                  <a:pt x="438341" y="417670"/>
                  <a:pt x="691052" y="386460"/>
                  <a:pt x="603576" y="468969"/>
                </a:cubicBezTo>
                <a:cubicBezTo>
                  <a:pt x="561238" y="504563"/>
                  <a:pt x="501337" y="525587"/>
                  <a:pt x="446875" y="537754"/>
                </a:cubicBezTo>
                <a:cubicBezTo>
                  <a:pt x="273588" y="576475"/>
                  <a:pt x="-100733" y="482347"/>
                  <a:pt x="25517" y="251539"/>
                </a:cubicBezTo>
                <a:cubicBezTo>
                  <a:pt x="111822" y="117325"/>
                  <a:pt x="298753" y="43934"/>
                  <a:pt x="453045" y="6131"/>
                </a:cubicBezTo>
                <a:cubicBezTo>
                  <a:pt x="467412" y="3415"/>
                  <a:pt x="481605" y="1326"/>
                  <a:pt x="496231" y="30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800"/>
            </a:lvl1pPr>
            <a:lvl5pPr>
              <a:defRPr/>
            </a:lvl5pPr>
          </a:lstStyle>
          <a:p>
            <a:pPr lvl="0"/>
            <a:r>
              <a:rPr lang="de-DE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2878199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with large Imag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mage">
            <a:extLst>
              <a:ext uri="{FF2B5EF4-FFF2-40B4-BE49-F238E27FC236}">
                <a16:creationId xmlns:a16="http://schemas.microsoft.com/office/drawing/2014/main" id="{96537854-3AC1-5D8C-32C0-773FDACAA86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  <a:solidFill>
            <a:srgbClr val="999999"/>
          </a:solidFill>
        </p:spPr>
        <p:txBody>
          <a:bodyPr tIns="0"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D89DC9A-FBE8-D440-F9E1-B90DCE3E7EC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5E4262CA-21A9-4E4D-8E7E-5DF8639F2343}" type="datetime1">
              <a:rPr lang="de-DE" smtClean="0"/>
              <a:t>08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7627D1-B40C-E389-8DD5-0DD1E92EA48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5A4D41-9BDD-B66B-9FB7-CE532CA1E31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9906940-4A55-7491-73FA-F7C757B94F1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79425" y="1448780"/>
            <a:ext cx="11233150" cy="3545586"/>
          </a:xfrm>
        </p:spPr>
        <p:txBody>
          <a:bodyPr>
            <a:noAutofit/>
          </a:bodyPr>
          <a:lstStyle>
            <a:lvl1pPr algn="ctr">
              <a:lnSpc>
                <a:spcPct val="80000"/>
              </a:lnSpc>
              <a:defRPr sz="154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 err="1"/>
              <a:t>closing</a:t>
            </a:r>
            <a:r>
              <a:rPr lang="de-DE" dirty="0"/>
              <a:t> </a:t>
            </a:r>
            <a:r>
              <a:rPr lang="de-DE" dirty="0" err="1"/>
              <a:t>statement</a:t>
            </a:r>
            <a:endParaRPr lang="de-DE" dirty="0"/>
          </a:p>
        </p:txBody>
      </p:sp>
      <p:pic>
        <p:nvPicPr>
          <p:cNvPr id="6" name="MIO_AGENDA_LAST_SLIDE" descr="Schließen mit einfarbiger Füllung" hidden="1">
            <a:extLst>
              <a:ext uri="{FF2B5EF4-FFF2-40B4-BE49-F238E27FC236}">
                <a16:creationId xmlns:a16="http://schemas.microsoft.com/office/drawing/2014/main" id="{1FBC18BA-07D1-12C2-80F5-C358D6A587A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7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97D13E98-B776-B804-BDA0-5AA68AC6F5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5B4FB576-C51D-63AF-406B-C62ACA7171D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9364ACD0-A96D-8FE8-D5F2-DC9811F7727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72722" y="5891142"/>
            <a:ext cx="1646555" cy="454095"/>
          </a:xfrm>
          <a:custGeom>
            <a:avLst/>
            <a:gdLst>
              <a:gd name="connsiteX0" fmla="*/ 738049 w 1980551"/>
              <a:gd name="connsiteY0" fmla="*/ 247957 h 546206"/>
              <a:gd name="connsiteX1" fmla="*/ 783101 w 1980551"/>
              <a:gd name="connsiteY1" fmla="*/ 252123 h 546206"/>
              <a:gd name="connsiteX2" fmla="*/ 807161 w 1980551"/>
              <a:gd name="connsiteY2" fmla="*/ 281851 h 546206"/>
              <a:gd name="connsiteX3" fmla="*/ 769527 w 1980551"/>
              <a:gd name="connsiteY3" fmla="*/ 359961 h 546206"/>
              <a:gd name="connsiteX4" fmla="*/ 659099 w 1980551"/>
              <a:gd name="connsiteY4" fmla="*/ 322656 h 546206"/>
              <a:gd name="connsiteX5" fmla="*/ 738049 w 1980551"/>
              <a:gd name="connsiteY5" fmla="*/ 247957 h 546206"/>
              <a:gd name="connsiteX6" fmla="*/ 625785 w 1980551"/>
              <a:gd name="connsiteY6" fmla="*/ 212484 h 546206"/>
              <a:gd name="connsiteX7" fmla="*/ 625785 w 1980551"/>
              <a:gd name="connsiteY7" fmla="*/ 212485 h 546206"/>
              <a:gd name="connsiteX8" fmla="*/ 625785 w 1980551"/>
              <a:gd name="connsiteY8" fmla="*/ 212484 h 546206"/>
              <a:gd name="connsiteX9" fmla="*/ 1118702 w 1980551"/>
              <a:gd name="connsiteY9" fmla="*/ 208403 h 546206"/>
              <a:gd name="connsiteX10" fmla="*/ 1024936 w 1980551"/>
              <a:gd name="connsiteY10" fmla="*/ 353550 h 546206"/>
              <a:gd name="connsiteX11" fmla="*/ 1035421 w 1980551"/>
              <a:gd name="connsiteY11" fmla="*/ 436907 h 546206"/>
              <a:gd name="connsiteX12" fmla="*/ 1144003 w 1980551"/>
              <a:gd name="connsiteY12" fmla="*/ 304584 h 546206"/>
              <a:gd name="connsiteX13" fmla="*/ 1155101 w 1980551"/>
              <a:gd name="connsiteY13" fmla="*/ 223559 h 546206"/>
              <a:gd name="connsiteX14" fmla="*/ 1118702 w 1980551"/>
              <a:gd name="connsiteY14" fmla="*/ 208404 h 546206"/>
              <a:gd name="connsiteX15" fmla="*/ 422544 w 1980551"/>
              <a:gd name="connsiteY15" fmla="*/ 140485 h 546206"/>
              <a:gd name="connsiteX16" fmla="*/ 244526 w 1980551"/>
              <a:gd name="connsiteY16" fmla="*/ 249208 h 546206"/>
              <a:gd name="connsiteX17" fmla="*/ 247611 w 1980551"/>
              <a:gd name="connsiteY17" fmla="*/ 254455 h 546206"/>
              <a:gd name="connsiteX18" fmla="*/ 424667 w 1980551"/>
              <a:gd name="connsiteY18" fmla="*/ 253871 h 546206"/>
              <a:gd name="connsiteX19" fmla="*/ 464769 w 1980551"/>
              <a:gd name="connsiteY19" fmla="*/ 199659 h 546206"/>
              <a:gd name="connsiteX20" fmla="*/ 460448 w 1980551"/>
              <a:gd name="connsiteY20" fmla="*/ 155940 h 546206"/>
              <a:gd name="connsiteX21" fmla="*/ 422544 w 1980551"/>
              <a:gd name="connsiteY21" fmla="*/ 140485 h 546206"/>
              <a:gd name="connsiteX22" fmla="*/ 1910799 w 1980551"/>
              <a:gd name="connsiteY22" fmla="*/ 116378 h 546206"/>
              <a:gd name="connsiteX23" fmla="*/ 1977462 w 1980551"/>
              <a:gd name="connsiteY23" fmla="*/ 177511 h 546206"/>
              <a:gd name="connsiteX24" fmla="*/ 1980551 w 1980551"/>
              <a:gd name="connsiteY24" fmla="*/ 203157 h 546206"/>
              <a:gd name="connsiteX25" fmla="*/ 1980542 w 1980551"/>
              <a:gd name="connsiteY25" fmla="*/ 203157 h 546206"/>
              <a:gd name="connsiteX26" fmla="*/ 1973147 w 1980551"/>
              <a:gd name="connsiteY26" fmla="*/ 252123 h 546206"/>
              <a:gd name="connsiteX27" fmla="*/ 1883075 w 1980551"/>
              <a:gd name="connsiteY27" fmla="*/ 523181 h 546206"/>
              <a:gd name="connsiteX28" fmla="*/ 1761533 w 1980551"/>
              <a:gd name="connsiteY28" fmla="*/ 517934 h 546206"/>
              <a:gd name="connsiteX29" fmla="*/ 1791151 w 1980551"/>
              <a:gd name="connsiteY29" fmla="*/ 408927 h 546206"/>
              <a:gd name="connsiteX30" fmla="*/ 1809039 w 1980551"/>
              <a:gd name="connsiteY30" fmla="*/ 256204 h 546206"/>
              <a:gd name="connsiteX31" fmla="*/ 1769561 w 1980551"/>
              <a:gd name="connsiteY31" fmla="*/ 261450 h 546206"/>
              <a:gd name="connsiteX32" fmla="*/ 1449374 w 1980551"/>
              <a:gd name="connsiteY32" fmla="*/ 521431 h 546206"/>
              <a:gd name="connsiteX33" fmla="*/ 1338334 w 1980551"/>
              <a:gd name="connsiteY33" fmla="*/ 516769 h 546206"/>
              <a:gd name="connsiteX34" fmla="*/ 1337097 w 1980551"/>
              <a:gd name="connsiteY34" fmla="*/ 502195 h 546206"/>
              <a:gd name="connsiteX35" fmla="*/ 1468499 w 1980551"/>
              <a:gd name="connsiteY35" fmla="*/ 148362 h 546206"/>
              <a:gd name="connsiteX36" fmla="*/ 1582635 w 1980551"/>
              <a:gd name="connsiteY36" fmla="*/ 143700 h 546206"/>
              <a:gd name="connsiteX37" fmla="*/ 1619025 w 1980551"/>
              <a:gd name="connsiteY37" fmla="*/ 212485 h 546206"/>
              <a:gd name="connsiteX38" fmla="*/ 1910799 w 1980551"/>
              <a:gd name="connsiteY38" fmla="*/ 116378 h 546206"/>
              <a:gd name="connsiteX39" fmla="*/ 1167615 w 1980551"/>
              <a:gd name="connsiteY39" fmla="*/ 103288 h 546206"/>
              <a:gd name="connsiteX40" fmla="*/ 1276642 w 1980551"/>
              <a:gd name="connsiteY40" fmla="*/ 116302 h 546206"/>
              <a:gd name="connsiteX41" fmla="*/ 1352520 w 1980551"/>
              <a:gd name="connsiteY41" fmla="*/ 202573 h 546206"/>
              <a:gd name="connsiteX42" fmla="*/ 1352520 w 1980551"/>
              <a:gd name="connsiteY42" fmla="*/ 202574 h 546206"/>
              <a:gd name="connsiteX43" fmla="*/ 1283424 w 1980551"/>
              <a:gd name="connsiteY43" fmla="*/ 396104 h 546206"/>
              <a:gd name="connsiteX44" fmla="*/ 1076135 w 1980551"/>
              <a:gd name="connsiteY44" fmla="*/ 534837 h 546206"/>
              <a:gd name="connsiteX45" fmla="*/ 822579 w 1980551"/>
              <a:gd name="connsiteY45" fmla="*/ 413591 h 546206"/>
              <a:gd name="connsiteX46" fmla="*/ 892297 w 1980551"/>
              <a:gd name="connsiteY46" fmla="*/ 239880 h 546206"/>
              <a:gd name="connsiteX47" fmla="*/ 1167615 w 1980551"/>
              <a:gd name="connsiteY47" fmla="*/ 103288 h 546206"/>
              <a:gd name="connsiteX48" fmla="*/ 496231 w 1980551"/>
              <a:gd name="connsiteY48" fmla="*/ 302 h 546206"/>
              <a:gd name="connsiteX49" fmla="*/ 620979 w 1980551"/>
              <a:gd name="connsiteY49" fmla="*/ 145853 h 546206"/>
              <a:gd name="connsiteX50" fmla="*/ 625785 w 1980551"/>
              <a:gd name="connsiteY50" fmla="*/ 212484 h 546206"/>
              <a:gd name="connsiteX51" fmla="*/ 617484 w 1980551"/>
              <a:gd name="connsiteY51" fmla="*/ 264746 h 546206"/>
              <a:gd name="connsiteX52" fmla="*/ 356805 w 1980551"/>
              <a:gd name="connsiteY52" fmla="*/ 359380 h 546206"/>
              <a:gd name="connsiteX53" fmla="*/ 195171 w 1980551"/>
              <a:gd name="connsiteY53" fmla="*/ 355884 h 546206"/>
              <a:gd name="connsiteX54" fmla="*/ 248228 w 1980551"/>
              <a:gd name="connsiteY54" fmla="*/ 440989 h 546206"/>
              <a:gd name="connsiteX55" fmla="*/ 414797 w 1980551"/>
              <a:gd name="connsiteY55" fmla="*/ 417670 h 546206"/>
              <a:gd name="connsiteX56" fmla="*/ 603576 w 1980551"/>
              <a:gd name="connsiteY56" fmla="*/ 468969 h 546206"/>
              <a:gd name="connsiteX57" fmla="*/ 446875 w 1980551"/>
              <a:gd name="connsiteY57" fmla="*/ 537754 h 546206"/>
              <a:gd name="connsiteX58" fmla="*/ 25517 w 1980551"/>
              <a:gd name="connsiteY58" fmla="*/ 251539 h 546206"/>
              <a:gd name="connsiteX59" fmla="*/ 453045 w 1980551"/>
              <a:gd name="connsiteY59" fmla="*/ 6131 h 546206"/>
              <a:gd name="connsiteX60" fmla="*/ 496231 w 1980551"/>
              <a:gd name="connsiteY60" fmla="*/ 302 h 546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1980551" h="546206">
                <a:moveTo>
                  <a:pt x="738049" y="247957"/>
                </a:moveTo>
                <a:cubicBezTo>
                  <a:pt x="751303" y="246818"/>
                  <a:pt x="766253" y="248171"/>
                  <a:pt x="783101" y="252123"/>
                </a:cubicBezTo>
                <a:cubicBezTo>
                  <a:pt x="799539" y="257324"/>
                  <a:pt x="803421" y="267613"/>
                  <a:pt x="807161" y="281851"/>
                </a:cubicBezTo>
                <a:cubicBezTo>
                  <a:pt x="793784" y="307306"/>
                  <a:pt x="796773" y="340698"/>
                  <a:pt x="769527" y="359961"/>
                </a:cubicBezTo>
                <a:cubicBezTo>
                  <a:pt x="732267" y="386303"/>
                  <a:pt x="638411" y="386375"/>
                  <a:pt x="659099" y="322656"/>
                </a:cubicBezTo>
                <a:cubicBezTo>
                  <a:pt x="673787" y="277225"/>
                  <a:pt x="698286" y="251375"/>
                  <a:pt x="738049" y="247957"/>
                </a:cubicBezTo>
                <a:close/>
                <a:moveTo>
                  <a:pt x="625785" y="212484"/>
                </a:moveTo>
                <a:lnTo>
                  <a:pt x="625785" y="212485"/>
                </a:lnTo>
                <a:lnTo>
                  <a:pt x="625785" y="212484"/>
                </a:lnTo>
                <a:close/>
                <a:moveTo>
                  <a:pt x="1118702" y="208403"/>
                </a:moveTo>
                <a:cubicBezTo>
                  <a:pt x="1047099" y="208403"/>
                  <a:pt x="1038373" y="302848"/>
                  <a:pt x="1024936" y="353550"/>
                </a:cubicBezTo>
                <a:cubicBezTo>
                  <a:pt x="1021554" y="372712"/>
                  <a:pt x="998853" y="436907"/>
                  <a:pt x="1035421" y="436907"/>
                </a:cubicBezTo>
                <a:cubicBezTo>
                  <a:pt x="1121512" y="453268"/>
                  <a:pt x="1129523" y="364043"/>
                  <a:pt x="1144003" y="304584"/>
                </a:cubicBezTo>
                <a:cubicBezTo>
                  <a:pt x="1149321" y="282710"/>
                  <a:pt x="1159881" y="246011"/>
                  <a:pt x="1155101" y="223559"/>
                </a:cubicBezTo>
                <a:cubicBezTo>
                  <a:pt x="1155101" y="206858"/>
                  <a:pt x="1130457" y="209520"/>
                  <a:pt x="1118702" y="208404"/>
                </a:cubicBezTo>
                <a:close/>
                <a:moveTo>
                  <a:pt x="422544" y="140485"/>
                </a:moveTo>
                <a:cubicBezTo>
                  <a:pt x="364403" y="152951"/>
                  <a:pt x="260427" y="234184"/>
                  <a:pt x="244526" y="249208"/>
                </a:cubicBezTo>
                <a:cubicBezTo>
                  <a:pt x="241865" y="254272"/>
                  <a:pt x="243876" y="252703"/>
                  <a:pt x="247611" y="254455"/>
                </a:cubicBezTo>
                <a:cubicBezTo>
                  <a:pt x="306610" y="254455"/>
                  <a:pt x="365748" y="253871"/>
                  <a:pt x="424667" y="253871"/>
                </a:cubicBezTo>
                <a:cubicBezTo>
                  <a:pt x="463469" y="247819"/>
                  <a:pt x="464769" y="236661"/>
                  <a:pt x="464769" y="199659"/>
                </a:cubicBezTo>
                <a:cubicBezTo>
                  <a:pt x="464769" y="185193"/>
                  <a:pt x="465395" y="169895"/>
                  <a:pt x="460448" y="155940"/>
                </a:cubicBezTo>
                <a:cubicBezTo>
                  <a:pt x="456213" y="139815"/>
                  <a:pt x="441925" y="136330"/>
                  <a:pt x="422544" y="140485"/>
                </a:cubicBezTo>
                <a:close/>
                <a:moveTo>
                  <a:pt x="1910799" y="116378"/>
                </a:moveTo>
                <a:cubicBezTo>
                  <a:pt x="1940083" y="121072"/>
                  <a:pt x="1963808" y="138810"/>
                  <a:pt x="1977462" y="177511"/>
                </a:cubicBezTo>
                <a:cubicBezTo>
                  <a:pt x="1979011" y="186251"/>
                  <a:pt x="1980551" y="194174"/>
                  <a:pt x="1980551" y="203157"/>
                </a:cubicBezTo>
                <a:lnTo>
                  <a:pt x="1980542" y="203157"/>
                </a:lnTo>
                <a:cubicBezTo>
                  <a:pt x="1980542" y="219464"/>
                  <a:pt x="1976924" y="236275"/>
                  <a:pt x="1973147" y="252123"/>
                </a:cubicBezTo>
                <a:cubicBezTo>
                  <a:pt x="1950874" y="345132"/>
                  <a:pt x="1914963" y="433618"/>
                  <a:pt x="1883075" y="523181"/>
                </a:cubicBezTo>
                <a:cubicBezTo>
                  <a:pt x="1853810" y="550829"/>
                  <a:pt x="1792977" y="535774"/>
                  <a:pt x="1761533" y="517934"/>
                </a:cubicBezTo>
                <a:cubicBezTo>
                  <a:pt x="1745808" y="503073"/>
                  <a:pt x="1784907" y="427251"/>
                  <a:pt x="1791151" y="408927"/>
                </a:cubicBezTo>
                <a:cubicBezTo>
                  <a:pt x="1800734" y="380784"/>
                  <a:pt x="1853078" y="277007"/>
                  <a:pt x="1809039" y="256204"/>
                </a:cubicBezTo>
                <a:cubicBezTo>
                  <a:pt x="1794878" y="256204"/>
                  <a:pt x="1783612" y="257956"/>
                  <a:pt x="1769561" y="261450"/>
                </a:cubicBezTo>
                <a:cubicBezTo>
                  <a:pt x="1637780" y="305043"/>
                  <a:pt x="1544241" y="431793"/>
                  <a:pt x="1449374" y="521431"/>
                </a:cubicBezTo>
                <a:cubicBezTo>
                  <a:pt x="1408254" y="540996"/>
                  <a:pt x="1378729" y="535989"/>
                  <a:pt x="1338334" y="516769"/>
                </a:cubicBezTo>
                <a:cubicBezTo>
                  <a:pt x="1334319" y="512983"/>
                  <a:pt x="1336264" y="506965"/>
                  <a:pt x="1337097" y="502195"/>
                </a:cubicBezTo>
                <a:cubicBezTo>
                  <a:pt x="1367664" y="381550"/>
                  <a:pt x="1416012" y="261935"/>
                  <a:pt x="1468499" y="148362"/>
                </a:cubicBezTo>
                <a:cubicBezTo>
                  <a:pt x="1476752" y="125175"/>
                  <a:pt x="1561600" y="133767"/>
                  <a:pt x="1582635" y="143700"/>
                </a:cubicBezTo>
                <a:cubicBezTo>
                  <a:pt x="1582635" y="169383"/>
                  <a:pt x="1579782" y="212485"/>
                  <a:pt x="1619025" y="212485"/>
                </a:cubicBezTo>
                <a:cubicBezTo>
                  <a:pt x="1685071" y="205607"/>
                  <a:pt x="1822948" y="102296"/>
                  <a:pt x="1910799" y="116378"/>
                </a:cubicBezTo>
                <a:close/>
                <a:moveTo>
                  <a:pt x="1167615" y="103288"/>
                </a:moveTo>
                <a:cubicBezTo>
                  <a:pt x="1204734" y="103504"/>
                  <a:pt x="1241814" y="108095"/>
                  <a:pt x="1276642" y="116302"/>
                </a:cubicBezTo>
                <a:cubicBezTo>
                  <a:pt x="1323794" y="132512"/>
                  <a:pt x="1348894" y="154205"/>
                  <a:pt x="1352520" y="202573"/>
                </a:cubicBezTo>
                <a:lnTo>
                  <a:pt x="1352520" y="202574"/>
                </a:lnTo>
                <a:cubicBezTo>
                  <a:pt x="1352520" y="263398"/>
                  <a:pt x="1312410" y="343309"/>
                  <a:pt x="1283424" y="396104"/>
                </a:cubicBezTo>
                <a:cubicBezTo>
                  <a:pt x="1237886" y="479183"/>
                  <a:pt x="1176296" y="528965"/>
                  <a:pt x="1076135" y="534837"/>
                </a:cubicBezTo>
                <a:cubicBezTo>
                  <a:pt x="987612" y="540025"/>
                  <a:pt x="787527" y="554548"/>
                  <a:pt x="822579" y="413591"/>
                </a:cubicBezTo>
                <a:cubicBezTo>
                  <a:pt x="837783" y="352570"/>
                  <a:pt x="871557" y="298807"/>
                  <a:pt x="892297" y="239880"/>
                </a:cubicBezTo>
                <a:cubicBezTo>
                  <a:pt x="944555" y="141356"/>
                  <a:pt x="1056258" y="102639"/>
                  <a:pt x="1167615" y="103288"/>
                </a:cubicBezTo>
                <a:close/>
                <a:moveTo>
                  <a:pt x="496231" y="302"/>
                </a:moveTo>
                <a:cubicBezTo>
                  <a:pt x="578563" y="-5507"/>
                  <a:pt x="610271" y="73564"/>
                  <a:pt x="620979" y="145853"/>
                </a:cubicBezTo>
                <a:lnTo>
                  <a:pt x="625785" y="212484"/>
                </a:lnTo>
                <a:lnTo>
                  <a:pt x="617484" y="264746"/>
                </a:lnTo>
                <a:cubicBezTo>
                  <a:pt x="586877" y="369512"/>
                  <a:pt x="480395" y="359915"/>
                  <a:pt x="356805" y="359380"/>
                </a:cubicBezTo>
                <a:cubicBezTo>
                  <a:pt x="303128" y="359171"/>
                  <a:pt x="248235" y="355884"/>
                  <a:pt x="195171" y="355884"/>
                </a:cubicBezTo>
                <a:cubicBezTo>
                  <a:pt x="175591" y="374648"/>
                  <a:pt x="232280" y="431567"/>
                  <a:pt x="248228" y="440989"/>
                </a:cubicBezTo>
                <a:cubicBezTo>
                  <a:pt x="302667" y="473033"/>
                  <a:pt x="370974" y="459274"/>
                  <a:pt x="414797" y="417670"/>
                </a:cubicBezTo>
                <a:cubicBezTo>
                  <a:pt x="438341" y="417670"/>
                  <a:pt x="691052" y="386460"/>
                  <a:pt x="603576" y="468969"/>
                </a:cubicBezTo>
                <a:cubicBezTo>
                  <a:pt x="561238" y="504563"/>
                  <a:pt x="501337" y="525587"/>
                  <a:pt x="446875" y="537754"/>
                </a:cubicBezTo>
                <a:cubicBezTo>
                  <a:pt x="273588" y="576475"/>
                  <a:pt x="-100733" y="482347"/>
                  <a:pt x="25517" y="251539"/>
                </a:cubicBezTo>
                <a:cubicBezTo>
                  <a:pt x="111822" y="117325"/>
                  <a:pt x="298753" y="43934"/>
                  <a:pt x="453045" y="6131"/>
                </a:cubicBezTo>
                <a:cubicBezTo>
                  <a:pt x="467412" y="3415"/>
                  <a:pt x="481605" y="1326"/>
                  <a:pt x="496231" y="30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800"/>
            </a:lvl1pPr>
            <a:lvl5pPr>
              <a:defRPr/>
            </a:lvl5pPr>
          </a:lstStyle>
          <a:p>
            <a:pPr lvl="0"/>
            <a:r>
              <a:rPr lang="de-DE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11523793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with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D89DC9A-FBE8-D440-F9E1-B90DCE3E7EC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C25F2DB8-05D3-784A-98E0-7A06DBBA287E}" type="datetime1">
              <a:rPr lang="de-DE" smtClean="0"/>
              <a:t>08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7627D1-B40C-E389-8DD5-0DD1E92EA48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5A4D41-9BDD-B66B-9FB7-CE532CA1E31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7" name="Image">
            <a:extLst>
              <a:ext uri="{FF2B5EF4-FFF2-40B4-BE49-F238E27FC236}">
                <a16:creationId xmlns:a16="http://schemas.microsoft.com/office/drawing/2014/main" id="{3A04AC39-7148-C419-6962-E080928AA6A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7620000" cy="6858000"/>
          </a:xfrm>
          <a:solidFill>
            <a:srgbClr val="999999"/>
          </a:solidFill>
        </p:spPr>
        <p:txBody>
          <a:bodyPr tIns="0"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9" name="Contact information">
            <a:extLst>
              <a:ext uri="{FF2B5EF4-FFF2-40B4-BE49-F238E27FC236}">
                <a16:creationId xmlns:a16="http://schemas.microsoft.com/office/drawing/2014/main" id="{711219D6-CE9D-0F40-A923-24FB0FE247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000" y="3212976"/>
            <a:ext cx="3528000" cy="235385"/>
          </a:xfrm>
        </p:spPr>
        <p:txBody>
          <a:bodyPr>
            <a:noAutofit/>
          </a:bodyPr>
          <a:lstStyle>
            <a:lvl1pPr>
              <a:defRPr sz="14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Edit </a:t>
            </a:r>
            <a:r>
              <a:rPr lang="de-DE" dirty="0" err="1"/>
              <a:t>contact</a:t>
            </a:r>
            <a:r>
              <a:rPr lang="de-DE" dirty="0"/>
              <a:t> Information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33495D4A-F00D-763A-E57E-AF2EFD0C6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2865600"/>
            <a:ext cx="3528000" cy="30264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Edit </a:t>
            </a:r>
            <a:r>
              <a:rPr lang="de-DE" dirty="0" err="1"/>
              <a:t>name</a:t>
            </a:r>
            <a:endParaRPr lang="de-DE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9906940-4A55-7491-73FA-F7C757B94F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3528000" cy="2243691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5400">
                <a:solidFill>
                  <a:schemeClr val="accent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/>
              <a:t>Edit </a:t>
            </a:r>
            <a:r>
              <a:rPr lang="de-DE" dirty="0" err="1"/>
              <a:t>closing</a:t>
            </a:r>
            <a:r>
              <a:rPr lang="de-DE" dirty="0"/>
              <a:t> </a:t>
            </a:r>
            <a:r>
              <a:rPr lang="de-DE" dirty="0" err="1"/>
              <a:t>statement</a:t>
            </a:r>
            <a:endParaRPr lang="de-DE" dirty="0"/>
          </a:p>
        </p:txBody>
      </p:sp>
      <p:pic>
        <p:nvPicPr>
          <p:cNvPr id="10" name="MIO_AGENDA_LAST_SLIDE" descr="Schließen mit einfarbiger Füllung" hidden="1">
            <a:extLst>
              <a:ext uri="{FF2B5EF4-FFF2-40B4-BE49-F238E27FC236}">
                <a16:creationId xmlns:a16="http://schemas.microsoft.com/office/drawing/2014/main" id="{B448BCEC-C644-97C8-EDFE-A5318AB3EA7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1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B00E2E16-40EB-598C-C85E-F2E8A9EE055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2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D64DA533-F61A-5EEF-7809-39495E4A5F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6" name="E.ON Logo">
            <a:extLst>
              <a:ext uri="{FF2B5EF4-FFF2-40B4-BE49-F238E27FC236}">
                <a16:creationId xmlns:a16="http://schemas.microsoft.com/office/drawing/2014/main" id="{987A17B9-31C0-7037-5B47-DBECF4F8697D}"/>
              </a:ext>
            </a:extLst>
          </p:cNvPr>
          <p:cNvSpPr/>
          <p:nvPr userDrawn="1"/>
        </p:nvSpPr>
        <p:spPr>
          <a:xfrm>
            <a:off x="479425" y="5891141"/>
            <a:ext cx="1646555" cy="454095"/>
          </a:xfrm>
          <a:custGeom>
            <a:avLst/>
            <a:gdLst>
              <a:gd name="connsiteX0" fmla="*/ 1202810 w 1761324"/>
              <a:gd name="connsiteY0" fmla="*/ 180152 h 485747"/>
              <a:gd name="connsiteX1" fmla="*/ 1141362 w 1761324"/>
              <a:gd name="connsiteY1" fmla="*/ 352260 h 485747"/>
              <a:gd name="connsiteX2" fmla="*/ 957018 w 1761324"/>
              <a:gd name="connsiteY2" fmla="*/ 475637 h 485747"/>
              <a:gd name="connsiteX3" fmla="*/ 731528 w 1761324"/>
              <a:gd name="connsiteY3" fmla="*/ 367812 h 485747"/>
              <a:gd name="connsiteX4" fmla="*/ 793529 w 1761324"/>
              <a:gd name="connsiteY4" fmla="*/ 213329 h 485747"/>
              <a:gd name="connsiteX5" fmla="*/ 1135331 w 1761324"/>
              <a:gd name="connsiteY5" fmla="*/ 103429 h 485747"/>
              <a:gd name="connsiteX6" fmla="*/ 1202810 w 1761324"/>
              <a:gd name="connsiteY6" fmla="*/ 180151 h 485747"/>
              <a:gd name="connsiteX7" fmla="*/ 1202810 w 1761324"/>
              <a:gd name="connsiteY7" fmla="*/ 180152 h 485747"/>
              <a:gd name="connsiteX8" fmla="*/ 994873 w 1761324"/>
              <a:gd name="connsiteY8" fmla="*/ 185336 h 485747"/>
              <a:gd name="connsiteX9" fmla="*/ 911486 w 1761324"/>
              <a:gd name="connsiteY9" fmla="*/ 314417 h 485747"/>
              <a:gd name="connsiteX10" fmla="*/ 920810 w 1761324"/>
              <a:gd name="connsiteY10" fmla="*/ 388547 h 485747"/>
              <a:gd name="connsiteX11" fmla="*/ 1017374 w 1761324"/>
              <a:gd name="connsiteY11" fmla="*/ 270871 h 485747"/>
              <a:gd name="connsiteX12" fmla="*/ 1027243 w 1761324"/>
              <a:gd name="connsiteY12" fmla="*/ 198814 h 485747"/>
              <a:gd name="connsiteX13" fmla="*/ 994873 w 1761324"/>
              <a:gd name="connsiteY13" fmla="*/ 185337 h 485747"/>
              <a:gd name="connsiteX14" fmla="*/ 994873 w 1761324"/>
              <a:gd name="connsiteY14" fmla="*/ 185336 h 485747"/>
              <a:gd name="connsiteX15" fmla="*/ 556517 w 1761324"/>
              <a:gd name="connsiteY15" fmla="*/ 188965 h 485747"/>
              <a:gd name="connsiteX16" fmla="*/ 317310 w 1761324"/>
              <a:gd name="connsiteY16" fmla="*/ 319601 h 485747"/>
              <a:gd name="connsiteX17" fmla="*/ 173567 w 1761324"/>
              <a:gd name="connsiteY17" fmla="*/ 316492 h 485747"/>
              <a:gd name="connsiteX18" fmla="*/ 220751 w 1761324"/>
              <a:gd name="connsiteY18" fmla="*/ 392177 h 485747"/>
              <a:gd name="connsiteX19" fmla="*/ 368883 w 1761324"/>
              <a:gd name="connsiteY19" fmla="*/ 371439 h 485747"/>
              <a:gd name="connsiteX20" fmla="*/ 536766 w 1761324"/>
              <a:gd name="connsiteY20" fmla="*/ 417060 h 485747"/>
              <a:gd name="connsiteX21" fmla="*/ 397410 w 1761324"/>
              <a:gd name="connsiteY21" fmla="*/ 478231 h 485747"/>
              <a:gd name="connsiteX22" fmla="*/ 22692 w 1761324"/>
              <a:gd name="connsiteY22" fmla="*/ 223697 h 485747"/>
              <a:gd name="connsiteX23" fmla="*/ 402897 w 1761324"/>
              <a:gd name="connsiteY23" fmla="*/ 5453 h 485747"/>
              <a:gd name="connsiteX24" fmla="*/ 441303 w 1761324"/>
              <a:gd name="connsiteY24" fmla="*/ 269 h 485747"/>
              <a:gd name="connsiteX25" fmla="*/ 556517 w 1761324"/>
              <a:gd name="connsiteY25" fmla="*/ 188966 h 485747"/>
              <a:gd name="connsiteX26" fmla="*/ 556517 w 1761324"/>
              <a:gd name="connsiteY26" fmla="*/ 188965 h 485747"/>
              <a:gd name="connsiteX27" fmla="*/ 413323 w 1761324"/>
              <a:gd name="connsiteY27" fmla="*/ 177560 h 485747"/>
              <a:gd name="connsiteX28" fmla="*/ 409481 w 1761324"/>
              <a:gd name="connsiteY28" fmla="*/ 138680 h 485747"/>
              <a:gd name="connsiteX29" fmla="*/ 217459 w 1761324"/>
              <a:gd name="connsiteY29" fmla="*/ 221624 h 485747"/>
              <a:gd name="connsiteX30" fmla="*/ 220202 w 1761324"/>
              <a:gd name="connsiteY30" fmla="*/ 226290 h 485747"/>
              <a:gd name="connsiteX31" fmla="*/ 377660 w 1761324"/>
              <a:gd name="connsiteY31" fmla="*/ 225771 h 485747"/>
              <a:gd name="connsiteX32" fmla="*/ 413323 w 1761324"/>
              <a:gd name="connsiteY32" fmla="*/ 177560 h 485747"/>
              <a:gd name="connsiteX33" fmla="*/ 413323 w 1761324"/>
              <a:gd name="connsiteY33" fmla="*/ 177560 h 485747"/>
              <a:gd name="connsiteX34" fmla="*/ 717816 w 1761324"/>
              <a:gd name="connsiteY34" fmla="*/ 250654 h 485747"/>
              <a:gd name="connsiteX35" fmla="*/ 684348 w 1761324"/>
              <a:gd name="connsiteY35" fmla="*/ 320118 h 485747"/>
              <a:gd name="connsiteX36" fmla="*/ 586143 w 1761324"/>
              <a:gd name="connsiteY36" fmla="*/ 286942 h 485747"/>
              <a:gd name="connsiteX37" fmla="*/ 696419 w 1761324"/>
              <a:gd name="connsiteY37" fmla="*/ 224216 h 485747"/>
              <a:gd name="connsiteX38" fmla="*/ 717816 w 1761324"/>
              <a:gd name="connsiteY38" fmla="*/ 250654 h 485747"/>
              <a:gd name="connsiteX39" fmla="*/ 717816 w 1761324"/>
              <a:gd name="connsiteY39" fmla="*/ 250654 h 485747"/>
              <a:gd name="connsiteX40" fmla="*/ 1761317 w 1761324"/>
              <a:gd name="connsiteY40" fmla="*/ 180670 h 485747"/>
              <a:gd name="connsiteX41" fmla="*/ 1754740 w 1761324"/>
              <a:gd name="connsiteY41" fmla="*/ 224216 h 485747"/>
              <a:gd name="connsiteX42" fmla="*/ 1674638 w 1761324"/>
              <a:gd name="connsiteY42" fmla="*/ 465271 h 485747"/>
              <a:gd name="connsiteX43" fmla="*/ 1566550 w 1761324"/>
              <a:gd name="connsiteY43" fmla="*/ 460605 h 485747"/>
              <a:gd name="connsiteX44" fmla="*/ 1592889 w 1761324"/>
              <a:gd name="connsiteY44" fmla="*/ 363664 h 485747"/>
              <a:gd name="connsiteX45" fmla="*/ 1608797 w 1761324"/>
              <a:gd name="connsiteY45" fmla="*/ 227846 h 485747"/>
              <a:gd name="connsiteX46" fmla="*/ 1573689 w 1761324"/>
              <a:gd name="connsiteY46" fmla="*/ 232511 h 485747"/>
              <a:gd name="connsiteX47" fmla="*/ 1288943 w 1761324"/>
              <a:gd name="connsiteY47" fmla="*/ 463715 h 485747"/>
              <a:gd name="connsiteX48" fmla="*/ 1190194 w 1761324"/>
              <a:gd name="connsiteY48" fmla="*/ 459569 h 485747"/>
              <a:gd name="connsiteX49" fmla="*/ 1189094 w 1761324"/>
              <a:gd name="connsiteY49" fmla="*/ 446608 h 485747"/>
              <a:gd name="connsiteX50" fmla="*/ 1305951 w 1761324"/>
              <a:gd name="connsiteY50" fmla="*/ 131941 h 485747"/>
              <a:gd name="connsiteX51" fmla="*/ 1407454 w 1761324"/>
              <a:gd name="connsiteY51" fmla="*/ 127795 h 485747"/>
              <a:gd name="connsiteX52" fmla="*/ 1439816 w 1761324"/>
              <a:gd name="connsiteY52" fmla="*/ 188966 h 485747"/>
              <a:gd name="connsiteX53" fmla="*/ 1758578 w 1761324"/>
              <a:gd name="connsiteY53" fmla="*/ 157863 h 485747"/>
              <a:gd name="connsiteX54" fmla="*/ 1761325 w 1761324"/>
              <a:gd name="connsiteY54" fmla="*/ 180670 h 485747"/>
              <a:gd name="connsiteX55" fmla="*/ 1761317 w 1761324"/>
              <a:gd name="connsiteY55" fmla="*/ 180670 h 485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761324" h="485747">
                <a:moveTo>
                  <a:pt x="1202810" y="180152"/>
                </a:moveTo>
                <a:cubicBezTo>
                  <a:pt x="1202810" y="234243"/>
                  <a:pt x="1167140" y="305309"/>
                  <a:pt x="1141362" y="352260"/>
                </a:cubicBezTo>
                <a:cubicBezTo>
                  <a:pt x="1100865" y="426143"/>
                  <a:pt x="1046092" y="470415"/>
                  <a:pt x="957018" y="475637"/>
                </a:cubicBezTo>
                <a:cubicBezTo>
                  <a:pt x="878293" y="480251"/>
                  <a:pt x="700356" y="493166"/>
                  <a:pt x="731528" y="367812"/>
                </a:cubicBezTo>
                <a:cubicBezTo>
                  <a:pt x="745049" y="313545"/>
                  <a:pt x="775084" y="265733"/>
                  <a:pt x="793529" y="213329"/>
                </a:cubicBezTo>
                <a:cubicBezTo>
                  <a:pt x="855493" y="96504"/>
                  <a:pt x="1011440" y="74234"/>
                  <a:pt x="1135331" y="103429"/>
                </a:cubicBezTo>
                <a:cubicBezTo>
                  <a:pt x="1177264" y="117845"/>
                  <a:pt x="1199585" y="137137"/>
                  <a:pt x="1202810" y="180151"/>
                </a:cubicBezTo>
                <a:lnTo>
                  <a:pt x="1202810" y="180152"/>
                </a:lnTo>
                <a:close/>
                <a:moveTo>
                  <a:pt x="994873" y="185336"/>
                </a:moveTo>
                <a:cubicBezTo>
                  <a:pt x="931196" y="185336"/>
                  <a:pt x="923436" y="269327"/>
                  <a:pt x="911486" y="314417"/>
                </a:cubicBezTo>
                <a:cubicBezTo>
                  <a:pt x="908478" y="331458"/>
                  <a:pt x="888290" y="388547"/>
                  <a:pt x="920810" y="388547"/>
                </a:cubicBezTo>
                <a:cubicBezTo>
                  <a:pt x="997372" y="403097"/>
                  <a:pt x="1004496" y="323748"/>
                  <a:pt x="1017374" y="270871"/>
                </a:cubicBezTo>
                <a:cubicBezTo>
                  <a:pt x="1022103" y="251418"/>
                  <a:pt x="1031494" y="218781"/>
                  <a:pt x="1027243" y="198814"/>
                </a:cubicBezTo>
                <a:cubicBezTo>
                  <a:pt x="1027243" y="183962"/>
                  <a:pt x="1005327" y="186329"/>
                  <a:pt x="994873" y="185337"/>
                </a:cubicBezTo>
                <a:lnTo>
                  <a:pt x="994873" y="185336"/>
                </a:lnTo>
                <a:close/>
                <a:moveTo>
                  <a:pt x="556517" y="188965"/>
                </a:moveTo>
                <a:cubicBezTo>
                  <a:pt x="548660" y="331215"/>
                  <a:pt x="442921" y="320145"/>
                  <a:pt x="317310" y="319601"/>
                </a:cubicBezTo>
                <a:cubicBezTo>
                  <a:pt x="269574" y="319415"/>
                  <a:pt x="220757" y="316492"/>
                  <a:pt x="173567" y="316492"/>
                </a:cubicBezTo>
                <a:cubicBezTo>
                  <a:pt x="156154" y="333179"/>
                  <a:pt x="206568" y="383798"/>
                  <a:pt x="220751" y="392177"/>
                </a:cubicBezTo>
                <a:cubicBezTo>
                  <a:pt x="269164" y="420674"/>
                  <a:pt x="329910" y="408438"/>
                  <a:pt x="368883" y="371439"/>
                </a:cubicBezTo>
                <a:cubicBezTo>
                  <a:pt x="389821" y="371439"/>
                  <a:pt x="614559" y="343684"/>
                  <a:pt x="536766" y="417060"/>
                </a:cubicBezTo>
                <a:cubicBezTo>
                  <a:pt x="499114" y="448714"/>
                  <a:pt x="445844" y="467411"/>
                  <a:pt x="397410" y="478231"/>
                </a:cubicBezTo>
                <a:cubicBezTo>
                  <a:pt x="243304" y="512666"/>
                  <a:pt x="-89584" y="428957"/>
                  <a:pt x="22692" y="223697"/>
                </a:cubicBezTo>
                <a:cubicBezTo>
                  <a:pt x="99444" y="104339"/>
                  <a:pt x="265683" y="39072"/>
                  <a:pt x="402897" y="5453"/>
                </a:cubicBezTo>
                <a:cubicBezTo>
                  <a:pt x="415674" y="3038"/>
                  <a:pt x="428296" y="1180"/>
                  <a:pt x="441303" y="269"/>
                </a:cubicBezTo>
                <a:cubicBezTo>
                  <a:pt x="538928" y="-6619"/>
                  <a:pt x="556517" y="120689"/>
                  <a:pt x="556517" y="188966"/>
                </a:cubicBezTo>
                <a:lnTo>
                  <a:pt x="556517" y="188965"/>
                </a:lnTo>
                <a:close/>
                <a:moveTo>
                  <a:pt x="413323" y="177560"/>
                </a:moveTo>
                <a:cubicBezTo>
                  <a:pt x="413323" y="164695"/>
                  <a:pt x="413880" y="151090"/>
                  <a:pt x="409481" y="138680"/>
                </a:cubicBezTo>
                <a:cubicBezTo>
                  <a:pt x="394414" y="81319"/>
                  <a:pt x="236313" y="203809"/>
                  <a:pt x="217459" y="221624"/>
                </a:cubicBezTo>
                <a:cubicBezTo>
                  <a:pt x="215092" y="226128"/>
                  <a:pt x="216881" y="224732"/>
                  <a:pt x="220202" y="226290"/>
                </a:cubicBezTo>
                <a:cubicBezTo>
                  <a:pt x="272671" y="226290"/>
                  <a:pt x="325263" y="225771"/>
                  <a:pt x="377660" y="225771"/>
                </a:cubicBezTo>
                <a:cubicBezTo>
                  <a:pt x="412167" y="220389"/>
                  <a:pt x="413323" y="210466"/>
                  <a:pt x="413323" y="177560"/>
                </a:cubicBezTo>
                <a:lnTo>
                  <a:pt x="413323" y="177560"/>
                </a:lnTo>
                <a:close/>
                <a:moveTo>
                  <a:pt x="717816" y="250654"/>
                </a:moveTo>
                <a:cubicBezTo>
                  <a:pt x="705920" y="273291"/>
                  <a:pt x="708578" y="302987"/>
                  <a:pt x="684348" y="320118"/>
                </a:cubicBezTo>
                <a:cubicBezTo>
                  <a:pt x="651212" y="343544"/>
                  <a:pt x="567745" y="343608"/>
                  <a:pt x="586143" y="286942"/>
                </a:cubicBezTo>
                <a:cubicBezTo>
                  <a:pt x="603559" y="233072"/>
                  <a:pt x="636487" y="210160"/>
                  <a:pt x="696419" y="224216"/>
                </a:cubicBezTo>
                <a:cubicBezTo>
                  <a:pt x="711038" y="228842"/>
                  <a:pt x="714490" y="237992"/>
                  <a:pt x="717816" y="250654"/>
                </a:cubicBezTo>
                <a:lnTo>
                  <a:pt x="717816" y="250654"/>
                </a:lnTo>
                <a:close/>
                <a:moveTo>
                  <a:pt x="1761317" y="180670"/>
                </a:moveTo>
                <a:cubicBezTo>
                  <a:pt x="1761317" y="195172"/>
                  <a:pt x="1758099" y="210123"/>
                  <a:pt x="1754740" y="224216"/>
                </a:cubicBezTo>
                <a:cubicBezTo>
                  <a:pt x="1734933" y="306930"/>
                  <a:pt x="1702997" y="385622"/>
                  <a:pt x="1674638" y="465271"/>
                </a:cubicBezTo>
                <a:cubicBezTo>
                  <a:pt x="1648613" y="489859"/>
                  <a:pt x="1594513" y="476470"/>
                  <a:pt x="1566550" y="460605"/>
                </a:cubicBezTo>
                <a:cubicBezTo>
                  <a:pt x="1552565" y="447389"/>
                  <a:pt x="1587337" y="379960"/>
                  <a:pt x="1592889" y="363664"/>
                </a:cubicBezTo>
                <a:cubicBezTo>
                  <a:pt x="1601412" y="338636"/>
                  <a:pt x="1647962" y="246346"/>
                  <a:pt x="1608797" y="227846"/>
                </a:cubicBezTo>
                <a:cubicBezTo>
                  <a:pt x="1596204" y="227846"/>
                  <a:pt x="1586185" y="229404"/>
                  <a:pt x="1573689" y="232511"/>
                </a:cubicBezTo>
                <a:cubicBezTo>
                  <a:pt x="1456495" y="271279"/>
                  <a:pt x="1373310" y="383999"/>
                  <a:pt x="1288943" y="463715"/>
                </a:cubicBezTo>
                <a:cubicBezTo>
                  <a:pt x="1252375" y="481114"/>
                  <a:pt x="1226118" y="476662"/>
                  <a:pt x="1190194" y="459569"/>
                </a:cubicBezTo>
                <a:cubicBezTo>
                  <a:pt x="1186624" y="456202"/>
                  <a:pt x="1188353" y="450850"/>
                  <a:pt x="1189094" y="446608"/>
                </a:cubicBezTo>
                <a:cubicBezTo>
                  <a:pt x="1216278" y="339317"/>
                  <a:pt x="1259274" y="232942"/>
                  <a:pt x="1305951" y="131941"/>
                </a:cubicBezTo>
                <a:cubicBezTo>
                  <a:pt x="1313291" y="111320"/>
                  <a:pt x="1388747" y="118961"/>
                  <a:pt x="1407454" y="127795"/>
                </a:cubicBezTo>
                <a:cubicBezTo>
                  <a:pt x="1407454" y="150635"/>
                  <a:pt x="1404917" y="188966"/>
                  <a:pt x="1439816" y="188966"/>
                </a:cubicBezTo>
                <a:cubicBezTo>
                  <a:pt x="1518130" y="180810"/>
                  <a:pt x="1710008" y="20195"/>
                  <a:pt x="1758578" y="157863"/>
                </a:cubicBezTo>
                <a:cubicBezTo>
                  <a:pt x="1759955" y="165636"/>
                  <a:pt x="1761325" y="172682"/>
                  <a:pt x="1761325" y="180670"/>
                </a:cubicBezTo>
                <a:lnTo>
                  <a:pt x="1761317" y="180670"/>
                </a:lnTo>
                <a:close/>
              </a:path>
            </a:pathLst>
          </a:custGeom>
          <a:solidFill>
            <a:schemeClr val="accent1"/>
          </a:solidFill>
          <a:ln w="7461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36975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Conten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TT.MM.JJJJ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B4B4D-7CA3-9044-876B-883B54F8677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7026578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71EDD8-CE41-5F3A-1222-8BB0B52C85ED}"/>
              </a:ext>
            </a:extLst>
          </p:cNvPr>
          <p:cNvSpPr/>
          <p:nvPr userDrawn="1"/>
        </p:nvSpPr>
        <p:spPr>
          <a:xfrm>
            <a:off x="0" y="-1"/>
            <a:ext cx="4572000" cy="6858000"/>
          </a:xfrm>
          <a:prstGeom prst="rect">
            <a:avLst/>
          </a:prstGeom>
          <a:gradFill flip="none" rotWithShape="1">
            <a:gsLst>
              <a:gs pos="58000">
                <a:srgbClr val="EA1B0A"/>
              </a:gs>
              <a:gs pos="100000">
                <a:srgbClr val="961482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en-US" sz="140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65674F3-461B-A0D8-BD43-B0E188D4749E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A93D36D-170F-57E0-AC70-4E68245359A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5" name="Image">
            <a:extLst>
              <a:ext uri="{FF2B5EF4-FFF2-40B4-BE49-F238E27FC236}">
                <a16:creationId xmlns:a16="http://schemas.microsoft.com/office/drawing/2014/main" id="{B8FDE1EB-2770-97AC-33D1-F5045924E2A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6858000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DE89EDF3-6591-5B1A-CD1F-6369A64261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2407206"/>
            <a:ext cx="3708362" cy="564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16867C0-5332-AE90-6140-EE0C9C14E7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512764"/>
            <a:ext cx="3708363" cy="1777652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defRPr sz="44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 err="1"/>
              <a:t>mastertitelformat</a:t>
            </a:r>
            <a:r>
              <a:rPr lang="de-DE" dirty="0"/>
              <a:t> bearbeiten</a:t>
            </a:r>
          </a:p>
        </p:txBody>
      </p:sp>
      <p:pic>
        <p:nvPicPr>
          <p:cNvPr id="8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1E5B8264-4460-C20B-5FD0-7B628F2BF20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9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4BA2485C-9557-F4C3-55A1-F87F6372EB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0" name="E.ON Logo">
            <a:extLst>
              <a:ext uri="{FF2B5EF4-FFF2-40B4-BE49-F238E27FC236}">
                <a16:creationId xmlns:a16="http://schemas.microsoft.com/office/drawing/2014/main" id="{778D5CDF-1202-A4A2-F064-431B6EFF7421}"/>
              </a:ext>
            </a:extLst>
          </p:cNvPr>
          <p:cNvSpPr/>
          <p:nvPr userDrawn="1"/>
        </p:nvSpPr>
        <p:spPr>
          <a:xfrm>
            <a:off x="479425" y="5854729"/>
            <a:ext cx="1778585" cy="490507"/>
          </a:xfrm>
          <a:custGeom>
            <a:avLst/>
            <a:gdLst>
              <a:gd name="connsiteX0" fmla="*/ 1202810 w 1761324"/>
              <a:gd name="connsiteY0" fmla="*/ 180152 h 485747"/>
              <a:gd name="connsiteX1" fmla="*/ 1141362 w 1761324"/>
              <a:gd name="connsiteY1" fmla="*/ 352260 h 485747"/>
              <a:gd name="connsiteX2" fmla="*/ 957018 w 1761324"/>
              <a:gd name="connsiteY2" fmla="*/ 475637 h 485747"/>
              <a:gd name="connsiteX3" fmla="*/ 731528 w 1761324"/>
              <a:gd name="connsiteY3" fmla="*/ 367812 h 485747"/>
              <a:gd name="connsiteX4" fmla="*/ 793529 w 1761324"/>
              <a:gd name="connsiteY4" fmla="*/ 213329 h 485747"/>
              <a:gd name="connsiteX5" fmla="*/ 1135331 w 1761324"/>
              <a:gd name="connsiteY5" fmla="*/ 103429 h 485747"/>
              <a:gd name="connsiteX6" fmla="*/ 1202810 w 1761324"/>
              <a:gd name="connsiteY6" fmla="*/ 180151 h 485747"/>
              <a:gd name="connsiteX7" fmla="*/ 1202810 w 1761324"/>
              <a:gd name="connsiteY7" fmla="*/ 180152 h 485747"/>
              <a:gd name="connsiteX8" fmla="*/ 994873 w 1761324"/>
              <a:gd name="connsiteY8" fmla="*/ 185336 h 485747"/>
              <a:gd name="connsiteX9" fmla="*/ 911486 w 1761324"/>
              <a:gd name="connsiteY9" fmla="*/ 314417 h 485747"/>
              <a:gd name="connsiteX10" fmla="*/ 920810 w 1761324"/>
              <a:gd name="connsiteY10" fmla="*/ 388547 h 485747"/>
              <a:gd name="connsiteX11" fmla="*/ 1017374 w 1761324"/>
              <a:gd name="connsiteY11" fmla="*/ 270871 h 485747"/>
              <a:gd name="connsiteX12" fmla="*/ 1027243 w 1761324"/>
              <a:gd name="connsiteY12" fmla="*/ 198814 h 485747"/>
              <a:gd name="connsiteX13" fmla="*/ 994873 w 1761324"/>
              <a:gd name="connsiteY13" fmla="*/ 185337 h 485747"/>
              <a:gd name="connsiteX14" fmla="*/ 994873 w 1761324"/>
              <a:gd name="connsiteY14" fmla="*/ 185336 h 485747"/>
              <a:gd name="connsiteX15" fmla="*/ 556517 w 1761324"/>
              <a:gd name="connsiteY15" fmla="*/ 188965 h 485747"/>
              <a:gd name="connsiteX16" fmla="*/ 317310 w 1761324"/>
              <a:gd name="connsiteY16" fmla="*/ 319601 h 485747"/>
              <a:gd name="connsiteX17" fmla="*/ 173567 w 1761324"/>
              <a:gd name="connsiteY17" fmla="*/ 316492 h 485747"/>
              <a:gd name="connsiteX18" fmla="*/ 220751 w 1761324"/>
              <a:gd name="connsiteY18" fmla="*/ 392177 h 485747"/>
              <a:gd name="connsiteX19" fmla="*/ 368883 w 1761324"/>
              <a:gd name="connsiteY19" fmla="*/ 371439 h 485747"/>
              <a:gd name="connsiteX20" fmla="*/ 536766 w 1761324"/>
              <a:gd name="connsiteY20" fmla="*/ 417060 h 485747"/>
              <a:gd name="connsiteX21" fmla="*/ 397410 w 1761324"/>
              <a:gd name="connsiteY21" fmla="*/ 478231 h 485747"/>
              <a:gd name="connsiteX22" fmla="*/ 22692 w 1761324"/>
              <a:gd name="connsiteY22" fmla="*/ 223697 h 485747"/>
              <a:gd name="connsiteX23" fmla="*/ 402897 w 1761324"/>
              <a:gd name="connsiteY23" fmla="*/ 5453 h 485747"/>
              <a:gd name="connsiteX24" fmla="*/ 441303 w 1761324"/>
              <a:gd name="connsiteY24" fmla="*/ 269 h 485747"/>
              <a:gd name="connsiteX25" fmla="*/ 556517 w 1761324"/>
              <a:gd name="connsiteY25" fmla="*/ 188966 h 485747"/>
              <a:gd name="connsiteX26" fmla="*/ 556517 w 1761324"/>
              <a:gd name="connsiteY26" fmla="*/ 188965 h 485747"/>
              <a:gd name="connsiteX27" fmla="*/ 413323 w 1761324"/>
              <a:gd name="connsiteY27" fmla="*/ 177560 h 485747"/>
              <a:gd name="connsiteX28" fmla="*/ 409481 w 1761324"/>
              <a:gd name="connsiteY28" fmla="*/ 138680 h 485747"/>
              <a:gd name="connsiteX29" fmla="*/ 217459 w 1761324"/>
              <a:gd name="connsiteY29" fmla="*/ 221624 h 485747"/>
              <a:gd name="connsiteX30" fmla="*/ 220202 w 1761324"/>
              <a:gd name="connsiteY30" fmla="*/ 226290 h 485747"/>
              <a:gd name="connsiteX31" fmla="*/ 377660 w 1761324"/>
              <a:gd name="connsiteY31" fmla="*/ 225771 h 485747"/>
              <a:gd name="connsiteX32" fmla="*/ 413323 w 1761324"/>
              <a:gd name="connsiteY32" fmla="*/ 177560 h 485747"/>
              <a:gd name="connsiteX33" fmla="*/ 413323 w 1761324"/>
              <a:gd name="connsiteY33" fmla="*/ 177560 h 485747"/>
              <a:gd name="connsiteX34" fmla="*/ 717816 w 1761324"/>
              <a:gd name="connsiteY34" fmla="*/ 250654 h 485747"/>
              <a:gd name="connsiteX35" fmla="*/ 684348 w 1761324"/>
              <a:gd name="connsiteY35" fmla="*/ 320118 h 485747"/>
              <a:gd name="connsiteX36" fmla="*/ 586143 w 1761324"/>
              <a:gd name="connsiteY36" fmla="*/ 286942 h 485747"/>
              <a:gd name="connsiteX37" fmla="*/ 696419 w 1761324"/>
              <a:gd name="connsiteY37" fmla="*/ 224216 h 485747"/>
              <a:gd name="connsiteX38" fmla="*/ 717816 w 1761324"/>
              <a:gd name="connsiteY38" fmla="*/ 250654 h 485747"/>
              <a:gd name="connsiteX39" fmla="*/ 717816 w 1761324"/>
              <a:gd name="connsiteY39" fmla="*/ 250654 h 485747"/>
              <a:gd name="connsiteX40" fmla="*/ 1761317 w 1761324"/>
              <a:gd name="connsiteY40" fmla="*/ 180670 h 485747"/>
              <a:gd name="connsiteX41" fmla="*/ 1754740 w 1761324"/>
              <a:gd name="connsiteY41" fmla="*/ 224216 h 485747"/>
              <a:gd name="connsiteX42" fmla="*/ 1674638 w 1761324"/>
              <a:gd name="connsiteY42" fmla="*/ 465271 h 485747"/>
              <a:gd name="connsiteX43" fmla="*/ 1566550 w 1761324"/>
              <a:gd name="connsiteY43" fmla="*/ 460605 h 485747"/>
              <a:gd name="connsiteX44" fmla="*/ 1592889 w 1761324"/>
              <a:gd name="connsiteY44" fmla="*/ 363664 h 485747"/>
              <a:gd name="connsiteX45" fmla="*/ 1608797 w 1761324"/>
              <a:gd name="connsiteY45" fmla="*/ 227846 h 485747"/>
              <a:gd name="connsiteX46" fmla="*/ 1573689 w 1761324"/>
              <a:gd name="connsiteY46" fmla="*/ 232511 h 485747"/>
              <a:gd name="connsiteX47" fmla="*/ 1288943 w 1761324"/>
              <a:gd name="connsiteY47" fmla="*/ 463715 h 485747"/>
              <a:gd name="connsiteX48" fmla="*/ 1190194 w 1761324"/>
              <a:gd name="connsiteY48" fmla="*/ 459569 h 485747"/>
              <a:gd name="connsiteX49" fmla="*/ 1189094 w 1761324"/>
              <a:gd name="connsiteY49" fmla="*/ 446608 h 485747"/>
              <a:gd name="connsiteX50" fmla="*/ 1305951 w 1761324"/>
              <a:gd name="connsiteY50" fmla="*/ 131941 h 485747"/>
              <a:gd name="connsiteX51" fmla="*/ 1407454 w 1761324"/>
              <a:gd name="connsiteY51" fmla="*/ 127795 h 485747"/>
              <a:gd name="connsiteX52" fmla="*/ 1439816 w 1761324"/>
              <a:gd name="connsiteY52" fmla="*/ 188966 h 485747"/>
              <a:gd name="connsiteX53" fmla="*/ 1758578 w 1761324"/>
              <a:gd name="connsiteY53" fmla="*/ 157863 h 485747"/>
              <a:gd name="connsiteX54" fmla="*/ 1761325 w 1761324"/>
              <a:gd name="connsiteY54" fmla="*/ 180670 h 485747"/>
              <a:gd name="connsiteX55" fmla="*/ 1761317 w 1761324"/>
              <a:gd name="connsiteY55" fmla="*/ 180670 h 485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761324" h="485747">
                <a:moveTo>
                  <a:pt x="1202810" y="180152"/>
                </a:moveTo>
                <a:cubicBezTo>
                  <a:pt x="1202810" y="234243"/>
                  <a:pt x="1167140" y="305309"/>
                  <a:pt x="1141362" y="352260"/>
                </a:cubicBezTo>
                <a:cubicBezTo>
                  <a:pt x="1100865" y="426143"/>
                  <a:pt x="1046092" y="470415"/>
                  <a:pt x="957018" y="475637"/>
                </a:cubicBezTo>
                <a:cubicBezTo>
                  <a:pt x="878293" y="480251"/>
                  <a:pt x="700356" y="493166"/>
                  <a:pt x="731528" y="367812"/>
                </a:cubicBezTo>
                <a:cubicBezTo>
                  <a:pt x="745049" y="313545"/>
                  <a:pt x="775084" y="265733"/>
                  <a:pt x="793529" y="213329"/>
                </a:cubicBezTo>
                <a:cubicBezTo>
                  <a:pt x="855493" y="96504"/>
                  <a:pt x="1011440" y="74234"/>
                  <a:pt x="1135331" y="103429"/>
                </a:cubicBezTo>
                <a:cubicBezTo>
                  <a:pt x="1177264" y="117845"/>
                  <a:pt x="1199585" y="137137"/>
                  <a:pt x="1202810" y="180151"/>
                </a:cubicBezTo>
                <a:lnTo>
                  <a:pt x="1202810" y="180152"/>
                </a:lnTo>
                <a:close/>
                <a:moveTo>
                  <a:pt x="994873" y="185336"/>
                </a:moveTo>
                <a:cubicBezTo>
                  <a:pt x="931196" y="185336"/>
                  <a:pt x="923436" y="269327"/>
                  <a:pt x="911486" y="314417"/>
                </a:cubicBezTo>
                <a:cubicBezTo>
                  <a:pt x="908478" y="331458"/>
                  <a:pt x="888290" y="388547"/>
                  <a:pt x="920810" y="388547"/>
                </a:cubicBezTo>
                <a:cubicBezTo>
                  <a:pt x="997372" y="403097"/>
                  <a:pt x="1004496" y="323748"/>
                  <a:pt x="1017374" y="270871"/>
                </a:cubicBezTo>
                <a:cubicBezTo>
                  <a:pt x="1022103" y="251418"/>
                  <a:pt x="1031494" y="218781"/>
                  <a:pt x="1027243" y="198814"/>
                </a:cubicBezTo>
                <a:cubicBezTo>
                  <a:pt x="1027243" y="183962"/>
                  <a:pt x="1005327" y="186329"/>
                  <a:pt x="994873" y="185337"/>
                </a:cubicBezTo>
                <a:lnTo>
                  <a:pt x="994873" y="185336"/>
                </a:lnTo>
                <a:close/>
                <a:moveTo>
                  <a:pt x="556517" y="188965"/>
                </a:moveTo>
                <a:cubicBezTo>
                  <a:pt x="548660" y="331215"/>
                  <a:pt x="442921" y="320145"/>
                  <a:pt x="317310" y="319601"/>
                </a:cubicBezTo>
                <a:cubicBezTo>
                  <a:pt x="269574" y="319415"/>
                  <a:pt x="220757" y="316492"/>
                  <a:pt x="173567" y="316492"/>
                </a:cubicBezTo>
                <a:cubicBezTo>
                  <a:pt x="156154" y="333179"/>
                  <a:pt x="206568" y="383798"/>
                  <a:pt x="220751" y="392177"/>
                </a:cubicBezTo>
                <a:cubicBezTo>
                  <a:pt x="269164" y="420674"/>
                  <a:pt x="329910" y="408438"/>
                  <a:pt x="368883" y="371439"/>
                </a:cubicBezTo>
                <a:cubicBezTo>
                  <a:pt x="389821" y="371439"/>
                  <a:pt x="614559" y="343684"/>
                  <a:pt x="536766" y="417060"/>
                </a:cubicBezTo>
                <a:cubicBezTo>
                  <a:pt x="499114" y="448714"/>
                  <a:pt x="445844" y="467411"/>
                  <a:pt x="397410" y="478231"/>
                </a:cubicBezTo>
                <a:cubicBezTo>
                  <a:pt x="243304" y="512666"/>
                  <a:pt x="-89584" y="428957"/>
                  <a:pt x="22692" y="223697"/>
                </a:cubicBezTo>
                <a:cubicBezTo>
                  <a:pt x="99444" y="104339"/>
                  <a:pt x="265683" y="39072"/>
                  <a:pt x="402897" y="5453"/>
                </a:cubicBezTo>
                <a:cubicBezTo>
                  <a:pt x="415674" y="3038"/>
                  <a:pt x="428296" y="1180"/>
                  <a:pt x="441303" y="269"/>
                </a:cubicBezTo>
                <a:cubicBezTo>
                  <a:pt x="538928" y="-6619"/>
                  <a:pt x="556517" y="120689"/>
                  <a:pt x="556517" y="188966"/>
                </a:cubicBezTo>
                <a:lnTo>
                  <a:pt x="556517" y="188965"/>
                </a:lnTo>
                <a:close/>
                <a:moveTo>
                  <a:pt x="413323" y="177560"/>
                </a:moveTo>
                <a:cubicBezTo>
                  <a:pt x="413323" y="164695"/>
                  <a:pt x="413880" y="151090"/>
                  <a:pt x="409481" y="138680"/>
                </a:cubicBezTo>
                <a:cubicBezTo>
                  <a:pt x="394414" y="81319"/>
                  <a:pt x="236313" y="203809"/>
                  <a:pt x="217459" y="221624"/>
                </a:cubicBezTo>
                <a:cubicBezTo>
                  <a:pt x="215092" y="226128"/>
                  <a:pt x="216881" y="224732"/>
                  <a:pt x="220202" y="226290"/>
                </a:cubicBezTo>
                <a:cubicBezTo>
                  <a:pt x="272671" y="226290"/>
                  <a:pt x="325263" y="225771"/>
                  <a:pt x="377660" y="225771"/>
                </a:cubicBezTo>
                <a:cubicBezTo>
                  <a:pt x="412167" y="220389"/>
                  <a:pt x="413323" y="210466"/>
                  <a:pt x="413323" y="177560"/>
                </a:cubicBezTo>
                <a:lnTo>
                  <a:pt x="413323" y="177560"/>
                </a:lnTo>
                <a:close/>
                <a:moveTo>
                  <a:pt x="717816" y="250654"/>
                </a:moveTo>
                <a:cubicBezTo>
                  <a:pt x="705920" y="273291"/>
                  <a:pt x="708578" y="302987"/>
                  <a:pt x="684348" y="320118"/>
                </a:cubicBezTo>
                <a:cubicBezTo>
                  <a:pt x="651212" y="343544"/>
                  <a:pt x="567745" y="343608"/>
                  <a:pt x="586143" y="286942"/>
                </a:cubicBezTo>
                <a:cubicBezTo>
                  <a:pt x="603559" y="233072"/>
                  <a:pt x="636487" y="210160"/>
                  <a:pt x="696419" y="224216"/>
                </a:cubicBezTo>
                <a:cubicBezTo>
                  <a:pt x="711038" y="228842"/>
                  <a:pt x="714490" y="237992"/>
                  <a:pt x="717816" y="250654"/>
                </a:cubicBezTo>
                <a:lnTo>
                  <a:pt x="717816" y="250654"/>
                </a:lnTo>
                <a:close/>
                <a:moveTo>
                  <a:pt x="1761317" y="180670"/>
                </a:moveTo>
                <a:cubicBezTo>
                  <a:pt x="1761317" y="195172"/>
                  <a:pt x="1758099" y="210123"/>
                  <a:pt x="1754740" y="224216"/>
                </a:cubicBezTo>
                <a:cubicBezTo>
                  <a:pt x="1734933" y="306930"/>
                  <a:pt x="1702997" y="385622"/>
                  <a:pt x="1674638" y="465271"/>
                </a:cubicBezTo>
                <a:cubicBezTo>
                  <a:pt x="1648613" y="489859"/>
                  <a:pt x="1594513" y="476470"/>
                  <a:pt x="1566550" y="460605"/>
                </a:cubicBezTo>
                <a:cubicBezTo>
                  <a:pt x="1552565" y="447389"/>
                  <a:pt x="1587337" y="379960"/>
                  <a:pt x="1592889" y="363664"/>
                </a:cubicBezTo>
                <a:cubicBezTo>
                  <a:pt x="1601412" y="338636"/>
                  <a:pt x="1647962" y="246346"/>
                  <a:pt x="1608797" y="227846"/>
                </a:cubicBezTo>
                <a:cubicBezTo>
                  <a:pt x="1596204" y="227846"/>
                  <a:pt x="1586185" y="229404"/>
                  <a:pt x="1573689" y="232511"/>
                </a:cubicBezTo>
                <a:cubicBezTo>
                  <a:pt x="1456495" y="271279"/>
                  <a:pt x="1373310" y="383999"/>
                  <a:pt x="1288943" y="463715"/>
                </a:cubicBezTo>
                <a:cubicBezTo>
                  <a:pt x="1252375" y="481114"/>
                  <a:pt x="1226118" y="476662"/>
                  <a:pt x="1190194" y="459569"/>
                </a:cubicBezTo>
                <a:cubicBezTo>
                  <a:pt x="1186624" y="456202"/>
                  <a:pt x="1188353" y="450850"/>
                  <a:pt x="1189094" y="446608"/>
                </a:cubicBezTo>
                <a:cubicBezTo>
                  <a:pt x="1216278" y="339317"/>
                  <a:pt x="1259274" y="232942"/>
                  <a:pt x="1305951" y="131941"/>
                </a:cubicBezTo>
                <a:cubicBezTo>
                  <a:pt x="1313291" y="111320"/>
                  <a:pt x="1388747" y="118961"/>
                  <a:pt x="1407454" y="127795"/>
                </a:cubicBezTo>
                <a:cubicBezTo>
                  <a:pt x="1407454" y="150635"/>
                  <a:pt x="1404917" y="188966"/>
                  <a:pt x="1439816" y="188966"/>
                </a:cubicBezTo>
                <a:cubicBezTo>
                  <a:pt x="1518130" y="180810"/>
                  <a:pt x="1710008" y="20195"/>
                  <a:pt x="1758578" y="157863"/>
                </a:cubicBezTo>
                <a:cubicBezTo>
                  <a:pt x="1759955" y="165636"/>
                  <a:pt x="1761325" y="172682"/>
                  <a:pt x="1761325" y="180670"/>
                </a:cubicBezTo>
                <a:lnTo>
                  <a:pt x="1761317" y="180670"/>
                </a:lnTo>
                <a:close/>
              </a:path>
            </a:pathLst>
          </a:custGeom>
          <a:solidFill>
            <a:schemeClr val="bg1"/>
          </a:solidFill>
          <a:ln w="7461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B78F765-2AAF-6D64-9D02-36444FBC874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479424" y="3112945"/>
            <a:ext cx="3708361" cy="287337"/>
          </a:xfrm>
        </p:spPr>
        <p:txBody>
          <a:bodyPr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4166F76A-4900-864D-B9F6-2488814C2A20}" type="datetime1">
              <a:rPr lang="de-DE" smtClean="0"/>
              <a:pPr/>
              <a:t>08.10.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86979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56C5AA-B723-1B46-A200-44A840E6773F}" type="datetime1">
              <a:rPr lang="de-DE" smtClean="0"/>
              <a:t>08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7" name="Conten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0575" y="1807200"/>
            <a:ext cx="11232000" cy="410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9412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  <p15:guide id="2" orient="horz" pos="372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603AA2-B5CF-DF42-BFD7-E438A8E61E16}" type="datetime1">
              <a:rPr lang="de-DE" smtClean="0"/>
              <a:t>08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6" name="Content right">
            <a:extLst>
              <a:ext uri="{FF2B5EF4-FFF2-40B4-BE49-F238E27FC236}">
                <a16:creationId xmlns:a16="http://schemas.microsoft.com/office/drawing/2014/main" id="{0ED697D8-4001-2C2F-6C69-6C69F0A9DA4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76575" y="1808163"/>
            <a:ext cx="5436000" cy="4103036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0574" y="1808163"/>
            <a:ext cx="5436000" cy="4103036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33532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1139">
          <p15:clr>
            <a:srgbClr val="FBAE40"/>
          </p15:clr>
        </p15:guide>
        <p15:guide id="4" orient="horz" pos="372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BE2844-2F76-E644-A845-460A05DF696C}" type="datetime1">
              <a:rPr lang="de-DE" smtClean="0"/>
              <a:t>08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Content right">
            <a:extLst>
              <a:ext uri="{FF2B5EF4-FFF2-40B4-BE49-F238E27FC236}">
                <a16:creationId xmlns:a16="http://schemas.microsoft.com/office/drawing/2014/main" id="{821C6087-42E8-EF3E-2DB1-006977CF49A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84000" y="1807199"/>
            <a:ext cx="3528000" cy="41040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Content center">
            <a:extLst>
              <a:ext uri="{FF2B5EF4-FFF2-40B4-BE49-F238E27FC236}">
                <a16:creationId xmlns:a16="http://schemas.microsoft.com/office/drawing/2014/main" id="{4DBF2313-467C-EC6E-F064-A45CD68A4D5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32000" y="1807199"/>
            <a:ext cx="3528000" cy="41040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0574" y="1807199"/>
            <a:ext cx="3528000" cy="41040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1023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  <p15:guide id="2" pos="2729">
          <p15:clr>
            <a:srgbClr val="FBAE40"/>
          </p15:clr>
        </p15:guide>
        <p15:guide id="3" pos="5155">
          <p15:clr>
            <a:srgbClr val="FBAE40"/>
          </p15:clr>
        </p15:guide>
        <p15:guide id="4" pos="4951">
          <p15:clr>
            <a:srgbClr val="FBAE40"/>
          </p15:clr>
        </p15:guide>
        <p15:guide id="5" orient="horz" pos="1139">
          <p15:clr>
            <a:srgbClr val="FBAE40"/>
          </p15:clr>
        </p15:guide>
        <p15:guide id="6" orient="horz" pos="372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E5105732-2702-2705-E25B-F69A991136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32287" y="1816649"/>
            <a:ext cx="3527425" cy="4528587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0"/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8F8D6EF-C64D-64CB-2BE5-D5340EA02FC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85149" y="1816651"/>
            <a:ext cx="3527425" cy="452858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0"/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A810C95-AC8E-6C1E-2B05-18C779A35A1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6" y="1816651"/>
            <a:ext cx="3527424" cy="4528587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0"/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0F2DB-F57A-AF4E-AE6C-A93AEBE3F34F}" type="datetime1">
              <a:rPr lang="de-DE" smtClean="0"/>
              <a:t>08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75420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5" orient="horz" pos="1139">
          <p15:clr>
            <a:srgbClr val="FBAE40"/>
          </p15:clr>
        </p15:guide>
        <p15:guide id="6" orient="horz" pos="3725">
          <p15:clr>
            <a:srgbClr val="FBAE40"/>
          </p15:clr>
        </p15:guide>
        <p15:guide id="7" pos="4951" userDrawn="1">
          <p15:clr>
            <a:srgbClr val="FBAE40"/>
          </p15:clr>
        </p15:guide>
        <p15:guide id="8" pos="5155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D648E009-BB98-9E35-EA66-436B411E8A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08162"/>
            <a:ext cx="2555266" cy="453707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600" b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0"/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9563D87D-9B7E-CB86-AD42-793930BBC5F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9151" y="1808162"/>
            <a:ext cx="2556850" cy="453707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600" b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0"/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Text Placeholder 13">
            <a:extLst>
              <a:ext uri="{FF2B5EF4-FFF2-40B4-BE49-F238E27FC236}">
                <a16:creationId xmlns:a16="http://schemas.microsoft.com/office/drawing/2014/main" id="{B04EEFA6-9DB8-5952-1B19-2DC826ECF7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461" y="1808162"/>
            <a:ext cx="2592389" cy="453707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600" b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0"/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8" name="Text Placeholder 13">
            <a:extLst>
              <a:ext uri="{FF2B5EF4-FFF2-40B4-BE49-F238E27FC236}">
                <a16:creationId xmlns:a16="http://schemas.microsoft.com/office/drawing/2014/main" id="{52F93D3B-4527-E2A4-E384-5954C4A981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56699" y="1808162"/>
            <a:ext cx="2555875" cy="453707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600" b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0"/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754A01-68C8-6244-A7C0-65979CD3F425}" type="datetime1">
              <a:rPr lang="de-DE" smtClean="0"/>
              <a:t>08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514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 userDrawn="1">
          <p15:clr>
            <a:srgbClr val="FBAE40"/>
          </p15:clr>
        </p15:guide>
        <p15:guide id="2" pos="2116" userDrawn="1">
          <p15:clr>
            <a:srgbClr val="FBAE40"/>
          </p15:clr>
        </p15:guide>
        <p15:guide id="5" orient="horz" pos="1139">
          <p15:clr>
            <a:srgbClr val="FBAE40"/>
          </p15:clr>
        </p15:guide>
        <p15:guide id="6" orient="horz" pos="3725">
          <p15:clr>
            <a:srgbClr val="FBAE40"/>
          </p15:clr>
        </p15:guide>
        <p15:guide id="7" pos="3727" userDrawn="1">
          <p15:clr>
            <a:srgbClr val="FBAE40"/>
          </p15:clr>
        </p15:guide>
        <p15:guide id="8" pos="3931" userDrawn="1">
          <p15:clr>
            <a:srgbClr val="FBAE40"/>
          </p15:clr>
        </p15:guide>
        <p15:guide id="9" pos="5564" userDrawn="1">
          <p15:clr>
            <a:srgbClr val="FBAE40"/>
          </p15:clr>
        </p15:guide>
        <p15:guide id="10" pos="576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5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BFC4CD-1D60-AC45-8637-25ABD31243B7}" type="datetime1">
              <a:rPr lang="de-DE" smtClean="0"/>
              <a:t>08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60" name="Text Placeholder 59">
            <a:extLst>
              <a:ext uri="{FF2B5EF4-FFF2-40B4-BE49-F238E27FC236}">
                <a16:creationId xmlns:a16="http://schemas.microsoft.com/office/drawing/2014/main" id="{724FCAC5-11F5-9A4C-F9DC-4A81828929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808163"/>
            <a:ext cx="2124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8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1</a:t>
            </a:r>
            <a:endParaRPr lang="en-US" dirty="0"/>
          </a:p>
        </p:txBody>
      </p:sp>
      <p:sp>
        <p:nvSpPr>
          <p:cNvPr id="61" name="Text Placeholder 59">
            <a:extLst>
              <a:ext uri="{FF2B5EF4-FFF2-40B4-BE49-F238E27FC236}">
                <a16:creationId xmlns:a16="http://schemas.microsoft.com/office/drawing/2014/main" id="{FACD359C-D847-4B82-D96F-7456AFF3D7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57144" y="1808163"/>
            <a:ext cx="2124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8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2</a:t>
            </a:r>
            <a:endParaRPr lang="en-US" dirty="0"/>
          </a:p>
        </p:txBody>
      </p:sp>
      <p:sp>
        <p:nvSpPr>
          <p:cNvPr id="62" name="Text Placeholder 59">
            <a:extLst>
              <a:ext uri="{FF2B5EF4-FFF2-40B4-BE49-F238E27FC236}">
                <a16:creationId xmlns:a16="http://schemas.microsoft.com/office/drawing/2014/main" id="{3A6CBA61-2475-CC89-F9C3-C02028C81A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34288" y="1808163"/>
            <a:ext cx="2124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8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3</a:t>
            </a:r>
            <a:endParaRPr lang="en-US" dirty="0"/>
          </a:p>
        </p:txBody>
      </p:sp>
      <p:sp>
        <p:nvSpPr>
          <p:cNvPr id="63" name="Text Placeholder 59">
            <a:extLst>
              <a:ext uri="{FF2B5EF4-FFF2-40B4-BE49-F238E27FC236}">
                <a16:creationId xmlns:a16="http://schemas.microsoft.com/office/drawing/2014/main" id="{08F4EFE1-28F5-581B-F05D-38EBBE1ED4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11432" y="1808163"/>
            <a:ext cx="2124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8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4</a:t>
            </a:r>
            <a:endParaRPr lang="en-US" dirty="0"/>
          </a:p>
        </p:txBody>
      </p:sp>
      <p:sp>
        <p:nvSpPr>
          <p:cNvPr id="64" name="Text Placeholder 59">
            <a:extLst>
              <a:ext uri="{FF2B5EF4-FFF2-40B4-BE49-F238E27FC236}">
                <a16:creationId xmlns:a16="http://schemas.microsoft.com/office/drawing/2014/main" id="{AB30CC30-1713-8F61-2722-FED948533C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88000" y="1808163"/>
            <a:ext cx="2124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8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5</a:t>
            </a:r>
            <a:endParaRPr lang="en-US" dirty="0"/>
          </a:p>
        </p:txBody>
      </p:sp>
      <p:sp>
        <p:nvSpPr>
          <p:cNvPr id="73" name="Text Placeholder 70">
            <a:extLst>
              <a:ext uri="{FF2B5EF4-FFF2-40B4-BE49-F238E27FC236}">
                <a16:creationId xmlns:a16="http://schemas.microsoft.com/office/drawing/2014/main" id="{FA15A0FC-E301-BBB8-6C26-2D2AA6D60FB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6651" y="3428999"/>
            <a:ext cx="1819275" cy="2484439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en-GB" dirty="0"/>
              <a:t>DD.MM.YYYY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Next step</a:t>
            </a:r>
          </a:p>
          <a:p>
            <a:pPr lvl="0"/>
            <a:r>
              <a:rPr lang="en-US" b="0" dirty="0" err="1"/>
              <a:t>Fusce</a:t>
            </a:r>
            <a:r>
              <a:rPr lang="en-US" b="0" dirty="0"/>
              <a:t> </a:t>
            </a:r>
            <a:r>
              <a:rPr lang="en-US" b="0" dirty="0" err="1"/>
              <a:t>tristique</a:t>
            </a:r>
            <a:r>
              <a:rPr lang="en-US" b="0" dirty="0"/>
              <a:t>, </a:t>
            </a:r>
            <a:r>
              <a:rPr lang="en-US" b="0" dirty="0" err="1"/>
              <a:t>orci</a:t>
            </a:r>
            <a:r>
              <a:rPr lang="en-US" b="0" dirty="0"/>
              <a:t> </a:t>
            </a:r>
            <a:r>
              <a:rPr lang="en-US" b="0" dirty="0" err="1"/>
              <a:t>nec</a:t>
            </a:r>
            <a:r>
              <a:rPr lang="en-US" b="0" dirty="0"/>
              <a:t> </a:t>
            </a:r>
            <a:r>
              <a:rPr lang="en-US" b="0" dirty="0" err="1"/>
              <a:t>mollis</a:t>
            </a:r>
            <a:r>
              <a:rPr lang="en-US" b="0" dirty="0"/>
              <a:t> </a:t>
            </a:r>
            <a:r>
              <a:rPr lang="en-US" b="0" dirty="0" err="1"/>
              <a:t>aliquet</a:t>
            </a:r>
            <a:r>
              <a:rPr lang="en-US" b="0" dirty="0"/>
              <a:t>, </a:t>
            </a:r>
            <a:r>
              <a:rPr lang="en-US" b="0" dirty="0" err="1"/>
              <a:t>tortor</a:t>
            </a:r>
            <a:r>
              <a:rPr lang="en-US" b="0" dirty="0"/>
              <a:t> </a:t>
            </a:r>
            <a:r>
              <a:rPr lang="en-US" b="0" dirty="0" err="1"/>
              <a:t>velit</a:t>
            </a:r>
            <a:r>
              <a:rPr lang="en-US" b="0" dirty="0"/>
              <a:t> </a:t>
            </a:r>
            <a:r>
              <a:rPr lang="en-US" b="0" dirty="0" err="1"/>
              <a:t>blandit</a:t>
            </a:r>
            <a:r>
              <a:rPr lang="en-US" b="0" dirty="0"/>
              <a:t> </a:t>
            </a:r>
            <a:r>
              <a:rPr lang="en-US" b="0" dirty="0" err="1"/>
              <a:t>urna</a:t>
            </a:r>
            <a:r>
              <a:rPr lang="en-US" b="0" dirty="0"/>
              <a:t>, sed gravida </a:t>
            </a:r>
            <a:r>
              <a:rPr lang="en-US" b="0" dirty="0" err="1"/>
              <a:t>odio</a:t>
            </a:r>
            <a:r>
              <a:rPr lang="en-US" b="0" dirty="0"/>
              <a:t> </a:t>
            </a:r>
            <a:r>
              <a:rPr lang="en-US" b="0" dirty="0" err="1"/>
              <a:t>quam</a:t>
            </a:r>
            <a:r>
              <a:rPr lang="en-US" b="0" dirty="0"/>
              <a:t> </a:t>
            </a:r>
            <a:r>
              <a:rPr lang="en-US" b="0" dirty="0" err="1"/>
              <a:t>ut</a:t>
            </a:r>
            <a:r>
              <a:rPr lang="en-US" b="0" dirty="0"/>
              <a:t> </a:t>
            </a:r>
            <a:r>
              <a:rPr lang="en-US" b="0" dirty="0" err="1"/>
              <a:t>leo</a:t>
            </a:r>
            <a:r>
              <a:rPr lang="en-US" b="0" dirty="0"/>
              <a:t>.</a:t>
            </a:r>
            <a:endParaRPr lang="en-GB" dirty="0"/>
          </a:p>
          <a:p>
            <a:pPr lvl="0"/>
            <a:endParaRPr lang="en-US" dirty="0"/>
          </a:p>
        </p:txBody>
      </p:sp>
      <p:sp>
        <p:nvSpPr>
          <p:cNvPr id="76" name="Text Placeholder 70">
            <a:extLst>
              <a:ext uri="{FF2B5EF4-FFF2-40B4-BE49-F238E27FC236}">
                <a16:creationId xmlns:a16="http://schemas.microsoft.com/office/drawing/2014/main" id="{F884D185-C4E4-F2B6-F85D-0F97BCF7F3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09507" y="3428999"/>
            <a:ext cx="1819275" cy="2484439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en-GB"/>
              <a:t>DD.MM.YYYY</a:t>
            </a:r>
          </a:p>
          <a:p>
            <a:pPr lvl="0"/>
            <a:endParaRPr lang="en-GB"/>
          </a:p>
          <a:p>
            <a:pPr lvl="0"/>
            <a:r>
              <a:rPr lang="en-GB"/>
              <a:t>Next step</a:t>
            </a:r>
          </a:p>
          <a:p>
            <a:pPr lvl="0"/>
            <a:r>
              <a:rPr lang="en-US" b="0" err="1"/>
              <a:t>Fusce</a:t>
            </a:r>
            <a:r>
              <a:rPr lang="en-US" b="0"/>
              <a:t> </a:t>
            </a:r>
            <a:r>
              <a:rPr lang="en-US" b="0" err="1"/>
              <a:t>tristique</a:t>
            </a:r>
            <a:r>
              <a:rPr lang="en-US" b="0"/>
              <a:t>, </a:t>
            </a:r>
            <a:r>
              <a:rPr lang="en-US" b="0" err="1"/>
              <a:t>orci</a:t>
            </a:r>
            <a:r>
              <a:rPr lang="en-US" b="0"/>
              <a:t> </a:t>
            </a:r>
            <a:r>
              <a:rPr lang="en-US" b="0" err="1"/>
              <a:t>nec</a:t>
            </a:r>
            <a:r>
              <a:rPr lang="en-US" b="0"/>
              <a:t> </a:t>
            </a:r>
            <a:r>
              <a:rPr lang="en-US" b="0" err="1"/>
              <a:t>mollis</a:t>
            </a:r>
            <a:r>
              <a:rPr lang="en-US" b="0"/>
              <a:t> </a:t>
            </a:r>
            <a:r>
              <a:rPr lang="en-US" b="0" err="1"/>
              <a:t>aliquet</a:t>
            </a:r>
            <a:r>
              <a:rPr lang="en-US" b="0"/>
              <a:t>, </a:t>
            </a:r>
            <a:r>
              <a:rPr lang="en-US" b="0" err="1"/>
              <a:t>tortor</a:t>
            </a:r>
            <a:r>
              <a:rPr lang="en-US" b="0"/>
              <a:t> </a:t>
            </a:r>
            <a:r>
              <a:rPr lang="en-US" b="0" err="1"/>
              <a:t>velit</a:t>
            </a:r>
            <a:r>
              <a:rPr lang="en-US" b="0"/>
              <a:t> </a:t>
            </a:r>
            <a:r>
              <a:rPr lang="en-US" b="0" err="1"/>
              <a:t>blandit</a:t>
            </a:r>
            <a:r>
              <a:rPr lang="en-US" b="0"/>
              <a:t> </a:t>
            </a:r>
            <a:r>
              <a:rPr lang="en-US" b="0" err="1"/>
              <a:t>urna</a:t>
            </a:r>
            <a:r>
              <a:rPr lang="en-US" b="0"/>
              <a:t>, sed gravida </a:t>
            </a:r>
            <a:r>
              <a:rPr lang="en-US" b="0" err="1"/>
              <a:t>odio</a:t>
            </a:r>
            <a:r>
              <a:rPr lang="en-US" b="0"/>
              <a:t> </a:t>
            </a:r>
            <a:r>
              <a:rPr lang="en-US" b="0" err="1"/>
              <a:t>quam</a:t>
            </a:r>
            <a:r>
              <a:rPr lang="en-US" b="0"/>
              <a:t> </a:t>
            </a:r>
            <a:r>
              <a:rPr lang="en-US" b="0" err="1"/>
              <a:t>ut</a:t>
            </a:r>
            <a:r>
              <a:rPr lang="en-US" b="0"/>
              <a:t> </a:t>
            </a:r>
            <a:r>
              <a:rPr lang="en-US" b="0" err="1"/>
              <a:t>leo</a:t>
            </a:r>
            <a:r>
              <a:rPr lang="en-US" b="0"/>
              <a:t>.</a:t>
            </a:r>
            <a:endParaRPr lang="en-GB"/>
          </a:p>
          <a:p>
            <a:pPr lvl="0"/>
            <a:endParaRPr lang="en-US"/>
          </a:p>
        </p:txBody>
      </p:sp>
      <p:sp>
        <p:nvSpPr>
          <p:cNvPr id="77" name="Text Placeholder 70">
            <a:extLst>
              <a:ext uri="{FF2B5EF4-FFF2-40B4-BE49-F238E27FC236}">
                <a16:creationId xmlns:a16="http://schemas.microsoft.com/office/drawing/2014/main" id="{049757F1-D506-2C2C-269C-5FC0FDF083E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363" y="3428999"/>
            <a:ext cx="1819275" cy="2484439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en-GB" dirty="0"/>
              <a:t>DD.MM.YYYY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Next step</a:t>
            </a:r>
          </a:p>
          <a:p>
            <a:pPr lvl="0"/>
            <a:r>
              <a:rPr lang="en-US" b="0" dirty="0" err="1"/>
              <a:t>Fusce</a:t>
            </a:r>
            <a:r>
              <a:rPr lang="en-US" b="0" dirty="0"/>
              <a:t> </a:t>
            </a:r>
            <a:r>
              <a:rPr lang="en-US" b="0" dirty="0" err="1"/>
              <a:t>tristique</a:t>
            </a:r>
            <a:r>
              <a:rPr lang="en-US" b="0" dirty="0"/>
              <a:t>, </a:t>
            </a:r>
            <a:r>
              <a:rPr lang="en-US" b="0" dirty="0" err="1"/>
              <a:t>orci</a:t>
            </a:r>
            <a:r>
              <a:rPr lang="en-US" b="0" dirty="0"/>
              <a:t> </a:t>
            </a:r>
            <a:r>
              <a:rPr lang="en-US" b="0" dirty="0" err="1"/>
              <a:t>nec</a:t>
            </a:r>
            <a:r>
              <a:rPr lang="en-US" b="0" dirty="0"/>
              <a:t> </a:t>
            </a:r>
            <a:r>
              <a:rPr lang="en-US" b="0" dirty="0" err="1"/>
              <a:t>mollis</a:t>
            </a:r>
            <a:r>
              <a:rPr lang="en-US" b="0" dirty="0"/>
              <a:t> </a:t>
            </a:r>
            <a:r>
              <a:rPr lang="en-US" b="0" dirty="0" err="1"/>
              <a:t>aliquet</a:t>
            </a:r>
            <a:r>
              <a:rPr lang="en-US" b="0" dirty="0"/>
              <a:t>, </a:t>
            </a:r>
            <a:r>
              <a:rPr lang="en-US" b="0" dirty="0" err="1"/>
              <a:t>tortor</a:t>
            </a:r>
            <a:r>
              <a:rPr lang="en-US" b="0" dirty="0"/>
              <a:t> </a:t>
            </a:r>
            <a:r>
              <a:rPr lang="en-US" b="0" dirty="0" err="1"/>
              <a:t>velit</a:t>
            </a:r>
            <a:r>
              <a:rPr lang="en-US" b="0" dirty="0"/>
              <a:t> </a:t>
            </a:r>
            <a:r>
              <a:rPr lang="en-US" b="0" dirty="0" err="1"/>
              <a:t>blandit</a:t>
            </a:r>
            <a:r>
              <a:rPr lang="en-US" b="0" dirty="0"/>
              <a:t> </a:t>
            </a:r>
            <a:r>
              <a:rPr lang="en-US" b="0" dirty="0" err="1"/>
              <a:t>urna</a:t>
            </a:r>
            <a:r>
              <a:rPr lang="en-US" b="0" dirty="0"/>
              <a:t>, sed gravida </a:t>
            </a:r>
            <a:r>
              <a:rPr lang="en-US" b="0" dirty="0" err="1"/>
              <a:t>odio</a:t>
            </a:r>
            <a:r>
              <a:rPr lang="en-US" b="0" dirty="0"/>
              <a:t> </a:t>
            </a:r>
            <a:r>
              <a:rPr lang="en-US" b="0" dirty="0" err="1"/>
              <a:t>quam</a:t>
            </a:r>
            <a:r>
              <a:rPr lang="en-US" b="0" dirty="0"/>
              <a:t> </a:t>
            </a:r>
            <a:r>
              <a:rPr lang="en-US" b="0" dirty="0" err="1"/>
              <a:t>ut</a:t>
            </a:r>
            <a:r>
              <a:rPr lang="en-US" b="0" dirty="0"/>
              <a:t> </a:t>
            </a:r>
            <a:r>
              <a:rPr lang="en-US" b="0" dirty="0" err="1"/>
              <a:t>leo</a:t>
            </a:r>
            <a:r>
              <a:rPr lang="en-US" b="0" dirty="0"/>
              <a:t>.</a:t>
            </a:r>
            <a:endParaRPr lang="en-GB" dirty="0"/>
          </a:p>
          <a:p>
            <a:pPr lvl="0"/>
            <a:endParaRPr lang="en-US" dirty="0"/>
          </a:p>
        </p:txBody>
      </p:sp>
      <p:sp>
        <p:nvSpPr>
          <p:cNvPr id="78" name="Text Placeholder 70">
            <a:extLst>
              <a:ext uri="{FF2B5EF4-FFF2-40B4-BE49-F238E27FC236}">
                <a16:creationId xmlns:a16="http://schemas.microsoft.com/office/drawing/2014/main" id="{B14F01AA-43F5-F834-B7F6-3949E5206A9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463795" y="3428999"/>
            <a:ext cx="1819275" cy="2484439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en-GB" dirty="0"/>
              <a:t>DD.MM.YYYY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Next step</a:t>
            </a:r>
          </a:p>
          <a:p>
            <a:pPr lvl="0"/>
            <a:r>
              <a:rPr lang="en-US" b="0" dirty="0" err="1"/>
              <a:t>Fusce</a:t>
            </a:r>
            <a:r>
              <a:rPr lang="en-US" b="0" dirty="0"/>
              <a:t> </a:t>
            </a:r>
            <a:r>
              <a:rPr lang="en-US" b="0" dirty="0" err="1"/>
              <a:t>tristique</a:t>
            </a:r>
            <a:r>
              <a:rPr lang="en-US" b="0" dirty="0"/>
              <a:t>, </a:t>
            </a:r>
            <a:r>
              <a:rPr lang="en-US" b="0" dirty="0" err="1"/>
              <a:t>orci</a:t>
            </a:r>
            <a:r>
              <a:rPr lang="en-US" b="0" dirty="0"/>
              <a:t> </a:t>
            </a:r>
            <a:r>
              <a:rPr lang="en-US" b="0" dirty="0" err="1"/>
              <a:t>nec</a:t>
            </a:r>
            <a:r>
              <a:rPr lang="en-US" b="0" dirty="0"/>
              <a:t> </a:t>
            </a:r>
            <a:r>
              <a:rPr lang="en-US" b="0" dirty="0" err="1"/>
              <a:t>mollis</a:t>
            </a:r>
            <a:r>
              <a:rPr lang="en-US" b="0" dirty="0"/>
              <a:t> </a:t>
            </a:r>
            <a:r>
              <a:rPr lang="en-US" b="0" dirty="0" err="1"/>
              <a:t>aliquet</a:t>
            </a:r>
            <a:r>
              <a:rPr lang="en-US" b="0" dirty="0"/>
              <a:t>, </a:t>
            </a:r>
            <a:r>
              <a:rPr lang="en-US" b="0" dirty="0" err="1"/>
              <a:t>tortor</a:t>
            </a:r>
            <a:r>
              <a:rPr lang="en-US" b="0" dirty="0"/>
              <a:t> </a:t>
            </a:r>
            <a:r>
              <a:rPr lang="en-US" b="0" dirty="0" err="1"/>
              <a:t>velit</a:t>
            </a:r>
            <a:r>
              <a:rPr lang="en-US" b="0" dirty="0"/>
              <a:t> </a:t>
            </a:r>
            <a:r>
              <a:rPr lang="en-US" b="0" dirty="0" err="1"/>
              <a:t>blandit</a:t>
            </a:r>
            <a:r>
              <a:rPr lang="en-US" b="0" dirty="0"/>
              <a:t> </a:t>
            </a:r>
            <a:r>
              <a:rPr lang="en-US" b="0" dirty="0" err="1"/>
              <a:t>urna</a:t>
            </a:r>
            <a:r>
              <a:rPr lang="en-US" b="0" dirty="0"/>
              <a:t>, sed gravida </a:t>
            </a:r>
            <a:r>
              <a:rPr lang="en-US" b="0" dirty="0" err="1"/>
              <a:t>odio</a:t>
            </a:r>
            <a:r>
              <a:rPr lang="en-US" b="0" dirty="0"/>
              <a:t> </a:t>
            </a:r>
            <a:r>
              <a:rPr lang="en-US" b="0" dirty="0" err="1"/>
              <a:t>quam</a:t>
            </a:r>
            <a:r>
              <a:rPr lang="en-US" b="0" dirty="0"/>
              <a:t> </a:t>
            </a:r>
            <a:r>
              <a:rPr lang="en-US" b="0" dirty="0" err="1"/>
              <a:t>ut</a:t>
            </a:r>
            <a:r>
              <a:rPr lang="en-US" b="0" dirty="0"/>
              <a:t> </a:t>
            </a:r>
            <a:r>
              <a:rPr lang="en-US" b="0" dirty="0" err="1"/>
              <a:t>leo</a:t>
            </a:r>
            <a:r>
              <a:rPr lang="en-US" b="0" dirty="0"/>
              <a:t>.</a:t>
            </a:r>
            <a:endParaRPr lang="en-GB" dirty="0"/>
          </a:p>
          <a:p>
            <a:pPr lvl="0"/>
            <a:endParaRPr lang="en-US" dirty="0"/>
          </a:p>
        </p:txBody>
      </p:sp>
      <p:sp>
        <p:nvSpPr>
          <p:cNvPr id="79" name="Text Placeholder 70">
            <a:extLst>
              <a:ext uri="{FF2B5EF4-FFF2-40B4-BE49-F238E27FC236}">
                <a16:creationId xmlns:a16="http://schemas.microsoft.com/office/drawing/2014/main" id="{6CE067F8-251E-8C0B-ACA3-8B0217FB0B7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40363" y="3428999"/>
            <a:ext cx="1819275" cy="2484439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en-GB" dirty="0"/>
              <a:t>DD.MM.YYYY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Next step</a:t>
            </a:r>
          </a:p>
          <a:p>
            <a:pPr lvl="0"/>
            <a:r>
              <a:rPr lang="en-US" b="0" dirty="0" err="1"/>
              <a:t>Fusce</a:t>
            </a:r>
            <a:r>
              <a:rPr lang="en-US" b="0" dirty="0"/>
              <a:t> </a:t>
            </a:r>
            <a:r>
              <a:rPr lang="en-US" b="0" dirty="0" err="1"/>
              <a:t>tristique</a:t>
            </a:r>
            <a:r>
              <a:rPr lang="en-US" b="0" dirty="0"/>
              <a:t>, </a:t>
            </a:r>
            <a:r>
              <a:rPr lang="en-US" b="0" dirty="0" err="1"/>
              <a:t>orci</a:t>
            </a:r>
            <a:r>
              <a:rPr lang="en-US" b="0" dirty="0"/>
              <a:t> </a:t>
            </a:r>
            <a:r>
              <a:rPr lang="en-US" b="0" dirty="0" err="1"/>
              <a:t>nec</a:t>
            </a:r>
            <a:r>
              <a:rPr lang="en-US" b="0" dirty="0"/>
              <a:t> </a:t>
            </a:r>
            <a:r>
              <a:rPr lang="en-US" b="0" dirty="0" err="1"/>
              <a:t>mollis</a:t>
            </a:r>
            <a:r>
              <a:rPr lang="en-US" b="0" dirty="0"/>
              <a:t> </a:t>
            </a:r>
            <a:r>
              <a:rPr lang="en-US" b="0" dirty="0" err="1"/>
              <a:t>aliquet</a:t>
            </a:r>
            <a:r>
              <a:rPr lang="en-US" b="0" dirty="0"/>
              <a:t>, </a:t>
            </a:r>
            <a:r>
              <a:rPr lang="en-US" b="0" dirty="0" err="1"/>
              <a:t>tortor</a:t>
            </a:r>
            <a:r>
              <a:rPr lang="en-US" b="0" dirty="0"/>
              <a:t> </a:t>
            </a:r>
            <a:r>
              <a:rPr lang="en-US" b="0" dirty="0" err="1"/>
              <a:t>velit</a:t>
            </a:r>
            <a:r>
              <a:rPr lang="en-US" b="0" dirty="0"/>
              <a:t> </a:t>
            </a:r>
            <a:r>
              <a:rPr lang="en-US" b="0" dirty="0" err="1"/>
              <a:t>blandit</a:t>
            </a:r>
            <a:r>
              <a:rPr lang="en-US" b="0" dirty="0"/>
              <a:t> </a:t>
            </a:r>
            <a:r>
              <a:rPr lang="en-US" b="0" dirty="0" err="1"/>
              <a:t>urna</a:t>
            </a:r>
            <a:r>
              <a:rPr lang="en-US" b="0" dirty="0"/>
              <a:t>, sed gravida </a:t>
            </a:r>
            <a:r>
              <a:rPr lang="en-US" b="0" dirty="0" err="1"/>
              <a:t>odio</a:t>
            </a:r>
            <a:r>
              <a:rPr lang="en-US" b="0" dirty="0"/>
              <a:t> </a:t>
            </a:r>
            <a:r>
              <a:rPr lang="en-US" b="0" dirty="0" err="1"/>
              <a:t>quam</a:t>
            </a:r>
            <a:r>
              <a:rPr lang="en-US" b="0" dirty="0"/>
              <a:t> </a:t>
            </a:r>
            <a:r>
              <a:rPr lang="en-US" b="0" dirty="0" err="1"/>
              <a:t>ut</a:t>
            </a:r>
            <a:r>
              <a:rPr lang="en-US" b="0" dirty="0"/>
              <a:t> </a:t>
            </a:r>
            <a:r>
              <a:rPr lang="en-US" b="0" dirty="0" err="1"/>
              <a:t>leo</a:t>
            </a:r>
            <a:r>
              <a:rPr lang="en-US" b="0" dirty="0"/>
              <a:t>.</a:t>
            </a:r>
            <a:endParaRPr lang="en-GB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5953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1139">
          <p15:clr>
            <a:srgbClr val="FBAE40"/>
          </p15:clr>
        </p15:guide>
        <p15:guide id="6" orient="horz" pos="372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635FA2F-196F-B7E9-F8E7-BA2662EB250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80000" y="512763"/>
            <a:ext cx="11232000" cy="8863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41CCA2-64AC-011A-6E48-D7BAE381437D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80000" y="1808163"/>
            <a:ext cx="11232000" cy="410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A303A87-3372-7C52-3A6E-92D7BAAC45F2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983998" y="6526212"/>
            <a:ext cx="1188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algn="r">
              <a:defRPr sz="900" b="0">
                <a:solidFill>
                  <a:schemeClr val="tx1"/>
                </a:solidFill>
              </a:defRPr>
            </a:lvl1pPr>
          </a:lstStyle>
          <a:p>
            <a:fld id="{4166F76A-4900-864D-B9F6-2488814C2A20}" type="datetime1">
              <a:rPr lang="de-DE" smtClean="0"/>
              <a:t>08.10.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E57ADF3-BF8D-274D-175D-117F148AB0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80000" y="6526212"/>
            <a:ext cx="5436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de-DE"/>
              <a:t>New E.ON PowerPoint Master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28E599-8D88-7F1F-581D-9EE50A461F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351999" y="6526212"/>
            <a:ext cx="360001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algn="r">
              <a:defRPr sz="900" b="1">
                <a:solidFill>
                  <a:schemeClr val="tx1"/>
                </a:solidFill>
              </a:defRPr>
            </a:lvl1pPr>
          </a:lstStyle>
          <a:p>
            <a:fld id="{01FFFE70-FC19-4A94-9D10-0B3C8E890CB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empower - DO NOT DELETE!!!" hidden="1">
            <a:extLst>
              <a:ext uri="{FF2B5EF4-FFF2-40B4-BE49-F238E27FC236}">
                <a16:creationId xmlns:a16="http://schemas.microsoft.com/office/drawing/2014/main" id="{CD89FD70-3824-0C4D-517B-1E78167FED4E}"/>
              </a:ext>
            </a:extLst>
          </p:cNvPr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 defTabSz="540000">
              <a:lnSpc>
                <a:spcPct val="120000"/>
              </a:lnSpc>
              <a:spcAft>
                <a:spcPts val="400"/>
              </a:spcAft>
            </a:pPr>
            <a:endParaRPr lang="de-DE" sz="1400"/>
          </a:p>
        </p:txBody>
      </p:sp>
    </p:spTree>
    <p:extLst>
      <p:ext uri="{BB962C8B-B14F-4D97-AF65-F5344CB8AC3E}">
        <p14:creationId xmlns:p14="http://schemas.microsoft.com/office/powerpoint/2010/main" val="2042808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90" r:id="rId2"/>
    <p:sldLayoutId id="2147483678" r:id="rId3"/>
    <p:sldLayoutId id="2147483679" r:id="rId4"/>
    <p:sldLayoutId id="2147483680" r:id="rId5"/>
    <p:sldLayoutId id="2147483685" r:id="rId6"/>
    <p:sldLayoutId id="2147483687" r:id="rId7"/>
    <p:sldLayoutId id="2147483681" r:id="rId8"/>
    <p:sldLayoutId id="2147483686" r:id="rId9"/>
    <p:sldLayoutId id="2147483682" r:id="rId10"/>
    <p:sldLayoutId id="2147483656" r:id="rId11"/>
    <p:sldLayoutId id="2147483657" r:id="rId12"/>
    <p:sldLayoutId id="2147483684" r:id="rId13"/>
    <p:sldLayoutId id="2147483691" r:id="rId14"/>
    <p:sldLayoutId id="2147483675" r:id="rId15"/>
    <p:sldLayoutId id="2147483658" r:id="rId16"/>
    <p:sldLayoutId id="2147483671" r:id="rId17"/>
    <p:sldLayoutId id="2147483670" r:id="rId18"/>
    <p:sldLayoutId id="2147483659" r:id="rId19"/>
    <p:sldLayoutId id="2147483660" r:id="rId20"/>
    <p:sldLayoutId id="2147483683" r:id="rId21"/>
    <p:sldLayoutId id="2147483661" r:id="rId22"/>
    <p:sldLayoutId id="2147483664" r:id="rId23"/>
    <p:sldLayoutId id="2147483665" r:id="rId24"/>
    <p:sldLayoutId id="2147483666" r:id="rId25"/>
    <p:sldLayoutId id="2147483667" r:id="rId26"/>
    <p:sldLayoutId id="2147483669" r:id="rId27"/>
    <p:sldLayoutId id="2147483668" r:id="rId28"/>
    <p:sldLayoutId id="2147483692" r:id="rId29"/>
  </p:sldLayoutIdLst>
  <p:hf hdr="0" dt="0"/>
  <p:txStyles>
    <p:titleStyle>
      <a:lvl1pPr algn="l" defTabSz="5400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79500" indent="-2159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301750" indent="-2159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524000" indent="-2159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733550" indent="-2159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02" userDrawn="1">
          <p15:clr>
            <a:srgbClr val="F26B43"/>
          </p15:clr>
        </p15:guide>
        <p15:guide id="3" pos="7378" userDrawn="1">
          <p15:clr>
            <a:srgbClr val="F26B43"/>
          </p15:clr>
        </p15:guide>
        <p15:guide id="4" orient="horz" pos="323" userDrawn="1">
          <p15:clr>
            <a:srgbClr val="F26B43"/>
          </p15:clr>
        </p15:guide>
        <p15:guide id="8" orient="horz" pos="399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2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60.png"/><Relationship Id="rId4" Type="http://schemas.openxmlformats.org/officeDocument/2006/relationships/customXml" Target="../ink/ink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spring.io/spring-ai/reference/api/audio/speech.html" TargetMode="External"/><Relationship Id="rId13" Type="http://schemas.openxmlformats.org/officeDocument/2006/relationships/hyperlink" Target="https://docs.spring.io/spring-ai/reference/observability/index.html" TargetMode="External"/><Relationship Id="rId3" Type="http://schemas.openxmlformats.org/officeDocument/2006/relationships/hyperlink" Target="https://docs.spring.io/spring-ai/reference/api/index.html" TargetMode="External"/><Relationship Id="rId7" Type="http://schemas.openxmlformats.org/officeDocument/2006/relationships/hyperlink" Target="https://docs.spring.io/spring-ai/reference/api/audio/transcriptions.html" TargetMode="External"/><Relationship Id="rId12" Type="http://schemas.openxmlformats.org/officeDocument/2006/relationships/hyperlink" Target="https://docs.spring.io/spring-ai/reference/api/tools.html" TargetMode="External"/><Relationship Id="rId2" Type="http://schemas.openxmlformats.org/officeDocument/2006/relationships/notesSlide" Target="../notesSlides/notesSlide5.xml"/><Relationship Id="rId16" Type="http://schemas.openxmlformats.org/officeDocument/2006/relationships/hyperlink" Target="https://docs.spring.io/spring-ai/reference/api/chatclient.html#_chat_memory" TargetMode="External"/><Relationship Id="rId1" Type="http://schemas.openxmlformats.org/officeDocument/2006/relationships/slideLayout" Target="../slideLayouts/slideLayout29.xml"/><Relationship Id="rId6" Type="http://schemas.openxmlformats.org/officeDocument/2006/relationships/hyperlink" Target="https://docs.spring.io/spring-ai/reference/api/imageclient.html" TargetMode="External"/><Relationship Id="rId11" Type="http://schemas.openxmlformats.org/officeDocument/2006/relationships/hyperlink" Target="https://docs.spring.io/spring-ai/reference/api/vectordbs.html" TargetMode="External"/><Relationship Id="rId5" Type="http://schemas.openxmlformats.org/officeDocument/2006/relationships/hyperlink" Target="https://docs.spring.io/spring-ai/reference/api/embeddings.html" TargetMode="External"/><Relationship Id="rId15" Type="http://schemas.openxmlformats.org/officeDocument/2006/relationships/hyperlink" Target="https://docs.spring.io/spring-ai/reference/api/testing.html" TargetMode="External"/><Relationship Id="rId10" Type="http://schemas.openxmlformats.org/officeDocument/2006/relationships/hyperlink" Target="https://docs.spring.io/spring-ai/reference/api/structured-output-converter.html" TargetMode="External"/><Relationship Id="rId4" Type="http://schemas.openxmlformats.org/officeDocument/2006/relationships/hyperlink" Target="https://docs.spring.io/spring-ai/reference/api/chatmodel.html" TargetMode="External"/><Relationship Id="rId9" Type="http://schemas.openxmlformats.org/officeDocument/2006/relationships/hyperlink" Target="https://docs.spring.io/spring-ai/reference/index.html#api/moderation" TargetMode="External"/><Relationship Id="rId14" Type="http://schemas.openxmlformats.org/officeDocument/2006/relationships/hyperlink" Target="https://docs.spring.io/spring-ai/reference/api/etl-pipeline.html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3738E7-B925-934C-8E25-969ECF3B4F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>
            <a:extLst>
              <a:ext uri="{FF2B5EF4-FFF2-40B4-BE49-F238E27FC236}">
                <a16:creationId xmlns:a16="http://schemas.microsoft.com/office/drawing/2014/main" id="{EB8F6369-C54F-4223-7B43-5689B18BC6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375" y="3429000"/>
            <a:ext cx="10513254" cy="1362246"/>
          </a:xfrm>
        </p:spPr>
        <p:txBody>
          <a:bodyPr/>
          <a:lstStyle/>
          <a:p>
            <a:r>
              <a:rPr lang="en-GB" dirty="0"/>
              <a:t>Forget the hype. Let’s explore some capabilities of Generative AI (LLM) that we can map to our business requirements and client's needs. </a:t>
            </a:r>
            <a:r>
              <a:rPr lang="en-US" dirty="0"/>
              <a:t> 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EDBF272-0708-DC72-5571-D78BF048BC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5" y="512763"/>
            <a:ext cx="11233150" cy="1732896"/>
          </a:xfrm>
        </p:spPr>
        <p:txBody>
          <a:bodyPr/>
          <a:lstStyle/>
          <a:p>
            <a:r>
              <a:rPr lang="en-GB" dirty="0"/>
              <a:t>Build your first AI Assistant using generative AI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612E8A1-A7F5-456C-7841-0A5E5BF3D76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9EDE4DA-7B8F-4D99-96C0-298ADF5F28C0}" type="datetime1">
              <a:rPr lang="de-DE" smtClean="0"/>
              <a:t>08.10.25</a:t>
            </a:fld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0711770-D266-A0A6-7A63-F5352AB573A2}"/>
              </a:ext>
            </a:extLst>
          </p:cNvPr>
          <p:cNvSpPr txBox="1"/>
          <p:nvPr/>
        </p:nvSpPr>
        <p:spPr>
          <a:xfrm>
            <a:off x="4184374" y="6042590"/>
            <a:ext cx="6092687" cy="3026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r>
              <a:rPr lang="en-RO" dirty="0"/>
              <a:t>Alexandru Lungu, Senior Software Developer | F</a:t>
            </a:r>
            <a:r>
              <a:rPr lang="en-GB" dirty="0"/>
              <a:t>u</a:t>
            </a:r>
            <a:r>
              <a:rPr lang="en-RO" dirty="0"/>
              <a:t>ll-Stack</a:t>
            </a:r>
          </a:p>
        </p:txBody>
      </p:sp>
    </p:spTree>
    <p:extLst>
      <p:ext uri="{BB962C8B-B14F-4D97-AF65-F5344CB8AC3E}">
        <p14:creationId xmlns:p14="http://schemas.microsoft.com/office/powerpoint/2010/main" val="17827820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94C1B0-64AE-AAA2-277E-01BA9C1ABE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06A9F872-B257-1A71-C8E7-F418A0CE36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en-US" dirty="0" err="1"/>
              <a:t>Ollama</a:t>
            </a:r>
            <a:r>
              <a:rPr lang="en-US" dirty="0"/>
              <a:t> + RAG = AI Assistant</a:t>
            </a:r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4F20DB0-C8C9-4EB9-4A0F-7417D21B894E}"/>
              </a:ext>
            </a:extLst>
          </p:cNvPr>
          <p:cNvSpPr txBox="1"/>
          <p:nvPr/>
        </p:nvSpPr>
        <p:spPr>
          <a:xfrm>
            <a:off x="504000" y="1754909"/>
            <a:ext cx="8691931" cy="37558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RO" dirty="0"/>
              <a:t>Question #1: </a:t>
            </a:r>
            <a:r>
              <a:rPr lang="en-GB" dirty="0"/>
              <a:t>get all the Light devices and display the room, Light type and Light type counter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endParaRPr lang="en-GB" dirty="0"/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endParaRPr lang="en-GB" dirty="0"/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Answer: 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| Room      | Light Type  | Light Type Counter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|----------|------------|--------------------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| Room 101 | LED          | 1                 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| Room 104 | LED          | 2                 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| Room 102 | LED          | 1                 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| Room 201 | Fluorescent  | 1                  |</a:t>
            </a:r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26184605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FC5733-03E0-716D-7332-3D39A7E2E3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311EDA86-CCF1-DF38-67EE-90990416A4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en-US" dirty="0" err="1"/>
              <a:t>Ollama</a:t>
            </a:r>
            <a:r>
              <a:rPr lang="en-US" dirty="0"/>
              <a:t> + RAG = AI Assistant</a:t>
            </a:r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8854CCA-E238-15AC-1318-6F2ACD2D868F}"/>
              </a:ext>
            </a:extLst>
          </p:cNvPr>
          <p:cNvSpPr txBox="1"/>
          <p:nvPr/>
        </p:nvSpPr>
        <p:spPr>
          <a:xfrm>
            <a:off x="504000" y="1228436"/>
            <a:ext cx="8741624" cy="6862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RO" dirty="0"/>
              <a:t>Question #1 : </a:t>
            </a:r>
            <a:r>
              <a:rPr lang="en-GB" dirty="0"/>
              <a:t>get all the Light devices and display the room, Light type and Light type counter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Check if the assistant is right for: Room 201 | Fluorescent  | 1 </a:t>
            </a:r>
            <a:endParaRPr lang="en-RO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E7A6296-7CC0-B7EA-F2B4-7C26BAF9B0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5540" y="2044159"/>
            <a:ext cx="11184860" cy="4309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6838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41C7E2-91C3-1ACB-4162-D6E164D386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174FD188-210B-9AE7-0C1D-4F8050B01D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en-US" dirty="0" err="1"/>
              <a:t>Ollama</a:t>
            </a:r>
            <a:r>
              <a:rPr lang="en-US" dirty="0"/>
              <a:t> + RAG = AI Assistant</a:t>
            </a:r>
            <a:endParaRPr lang="de-DE" dirty="0"/>
          </a:p>
        </p:txBody>
      </p:sp>
      <p:pic>
        <p:nvPicPr>
          <p:cNvPr id="1026" name="Picture 2" descr="It's Demo (Mentality) Time ! I've been working recently with a few startups  that adopted a very aggressive Demo Mentality. It started in the last 6-12  months due to the market situation">
            <a:extLst>
              <a:ext uri="{FF2B5EF4-FFF2-40B4-BE49-F238E27FC236}">
                <a16:creationId xmlns:a16="http://schemas.microsoft.com/office/drawing/2014/main" id="{B33F8A36-C283-BC8B-1482-67284E2402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8477" y="1289050"/>
            <a:ext cx="9915045" cy="556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07692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72CCAF-7F42-5143-9D0D-FDC54E1409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1D305352-E652-0743-DA60-78F136C9A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en-US" dirty="0" err="1"/>
              <a:t>Ollama</a:t>
            </a:r>
            <a:r>
              <a:rPr lang="en-US" dirty="0"/>
              <a:t> + RAG = AI Assistant</a:t>
            </a:r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DA04946-C7C9-7B6F-250F-1F49E42A6202}"/>
              </a:ext>
            </a:extLst>
          </p:cNvPr>
          <p:cNvSpPr txBox="1"/>
          <p:nvPr/>
        </p:nvSpPr>
        <p:spPr>
          <a:xfrm>
            <a:off x="571255" y="1099127"/>
            <a:ext cx="5959452" cy="550240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540000">
              <a:lnSpc>
                <a:spcPct val="120000"/>
              </a:lnSpc>
              <a:spcAft>
                <a:spcPts val="400"/>
              </a:spcAft>
            </a:pPr>
            <a:endParaRPr lang="en-GB" sz="1400" dirty="0"/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endParaRPr lang="en-GB" sz="1400" dirty="0"/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sz="1400" b="1" dirty="0"/>
              <a:t>Answer</a:t>
            </a:r>
            <a:r>
              <a:rPr lang="en-GB" sz="1400" dirty="0"/>
              <a:t>: 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sz="1400" dirty="0"/>
              <a:t>Record&lt;{</a:t>
            </a:r>
            <a:r>
              <a:rPr lang="en-GB" sz="1400" dirty="0" err="1"/>
              <a:t>roomName</a:t>
            </a:r>
            <a:r>
              <a:rPr lang="en-GB" sz="1400" dirty="0"/>
              <a:t>: "Room 104", </a:t>
            </a:r>
            <a:r>
              <a:rPr lang="en-GB" sz="1400" dirty="0" err="1"/>
              <a:t>deviceLabel</a:t>
            </a:r>
            <a:r>
              <a:rPr lang="en-GB" sz="1400" dirty="0"/>
              <a:t>: "Sensor", </a:t>
            </a:r>
            <a:r>
              <a:rPr lang="en-GB" sz="1400" dirty="0" err="1"/>
              <a:t>deviceCount</a:t>
            </a:r>
            <a:r>
              <a:rPr lang="en-GB" sz="1400" dirty="0"/>
              <a:t>: 3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sz="1400" dirty="0"/>
              <a:t>Record&lt;{</a:t>
            </a:r>
            <a:r>
              <a:rPr lang="en-GB" sz="1400" dirty="0" err="1"/>
              <a:t>roomName</a:t>
            </a:r>
            <a:r>
              <a:rPr lang="en-GB" sz="1400" dirty="0"/>
              <a:t>: "Room 104", </a:t>
            </a:r>
            <a:r>
              <a:rPr lang="en-GB" sz="1400" dirty="0" err="1"/>
              <a:t>deviceLabel</a:t>
            </a:r>
            <a:r>
              <a:rPr lang="en-GB" sz="1400" dirty="0"/>
              <a:t>: "Light", </a:t>
            </a:r>
            <a:r>
              <a:rPr lang="en-GB" sz="1400" dirty="0" err="1"/>
              <a:t>deviceCount</a:t>
            </a:r>
            <a:r>
              <a:rPr lang="en-GB" sz="1400" dirty="0"/>
              <a:t>: 2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sz="1400" dirty="0"/>
              <a:t>Record&lt;{</a:t>
            </a:r>
            <a:r>
              <a:rPr lang="en-GB" sz="1400" dirty="0" err="1"/>
              <a:t>roomName</a:t>
            </a:r>
            <a:r>
              <a:rPr lang="en-GB" sz="1400" dirty="0"/>
              <a:t>: "Room 101", </a:t>
            </a:r>
            <a:r>
              <a:rPr lang="en-GB" sz="1400" dirty="0" err="1"/>
              <a:t>deviceLabel</a:t>
            </a:r>
            <a:r>
              <a:rPr lang="en-GB" sz="1400" dirty="0"/>
              <a:t>: "</a:t>
            </a:r>
            <a:r>
              <a:rPr lang="en-GB" sz="1400" dirty="0" err="1"/>
              <a:t>CircuitBreaker</a:t>
            </a:r>
            <a:r>
              <a:rPr lang="en-GB" sz="1400" dirty="0"/>
              <a:t>", </a:t>
            </a:r>
            <a:r>
              <a:rPr lang="en-GB" sz="1400" dirty="0" err="1"/>
              <a:t>deviceCount</a:t>
            </a:r>
            <a:r>
              <a:rPr lang="en-GB" sz="1400" dirty="0"/>
              <a:t>: 1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sz="1400" dirty="0"/>
              <a:t>Record&lt;{</a:t>
            </a:r>
            <a:r>
              <a:rPr lang="en-GB" sz="1400" dirty="0" err="1"/>
              <a:t>roomName</a:t>
            </a:r>
            <a:r>
              <a:rPr lang="en-GB" sz="1400" dirty="0"/>
              <a:t>: "Room 101", </a:t>
            </a:r>
            <a:r>
              <a:rPr lang="en-GB" sz="1400" dirty="0" err="1"/>
              <a:t>deviceLabel</a:t>
            </a:r>
            <a:r>
              <a:rPr lang="en-GB" sz="1400" dirty="0"/>
              <a:t>: "Light", </a:t>
            </a:r>
            <a:r>
              <a:rPr lang="en-GB" sz="1400" dirty="0" err="1"/>
              <a:t>deviceCount</a:t>
            </a:r>
            <a:r>
              <a:rPr lang="en-GB" sz="1400" dirty="0"/>
              <a:t>: 1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sz="1400" dirty="0"/>
              <a:t>Record&lt;{</a:t>
            </a:r>
            <a:r>
              <a:rPr lang="en-GB" sz="1400" dirty="0" err="1"/>
              <a:t>roomName</a:t>
            </a:r>
            <a:r>
              <a:rPr lang="en-GB" sz="1400" dirty="0"/>
              <a:t>: "Room 101", </a:t>
            </a:r>
            <a:r>
              <a:rPr lang="en-GB" sz="1400" dirty="0" err="1"/>
              <a:t>deviceLabel</a:t>
            </a:r>
            <a:r>
              <a:rPr lang="en-GB" sz="1400" dirty="0"/>
              <a:t>: "Outlet", </a:t>
            </a:r>
            <a:r>
              <a:rPr lang="en-GB" sz="1400" dirty="0" err="1"/>
              <a:t>deviceCount</a:t>
            </a:r>
            <a:r>
              <a:rPr lang="en-GB" sz="1400" dirty="0"/>
              <a:t>: 1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sz="1400" dirty="0"/>
              <a:t>Record&lt;{</a:t>
            </a:r>
            <a:r>
              <a:rPr lang="en-GB" sz="1400" dirty="0" err="1"/>
              <a:t>roomName</a:t>
            </a:r>
            <a:r>
              <a:rPr lang="en-GB" sz="1400" dirty="0"/>
              <a:t>: "Room 101", </a:t>
            </a:r>
            <a:r>
              <a:rPr lang="en-GB" sz="1400" dirty="0" err="1"/>
              <a:t>deviceLabel</a:t>
            </a:r>
            <a:r>
              <a:rPr lang="en-GB" sz="1400" dirty="0"/>
              <a:t>: "Sensor", </a:t>
            </a:r>
            <a:r>
              <a:rPr lang="en-GB" sz="1400" dirty="0" err="1"/>
              <a:t>deviceCount</a:t>
            </a:r>
            <a:r>
              <a:rPr lang="en-GB" sz="1400" dirty="0"/>
              <a:t>: 1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sz="1400" dirty="0"/>
              <a:t>Record&lt;{</a:t>
            </a:r>
            <a:r>
              <a:rPr lang="en-GB" sz="1400" dirty="0" err="1"/>
              <a:t>roomName</a:t>
            </a:r>
            <a:r>
              <a:rPr lang="en-GB" sz="1400" dirty="0"/>
              <a:t>: "Room 102", </a:t>
            </a:r>
            <a:r>
              <a:rPr lang="en-GB" sz="1400" dirty="0" err="1"/>
              <a:t>deviceLabel</a:t>
            </a:r>
            <a:r>
              <a:rPr lang="en-GB" sz="1400" dirty="0"/>
              <a:t>: "</a:t>
            </a:r>
            <a:r>
              <a:rPr lang="en-GB" sz="1400" dirty="0" err="1"/>
              <a:t>CircuitBreaker</a:t>
            </a:r>
            <a:r>
              <a:rPr lang="en-GB" sz="1400" dirty="0"/>
              <a:t>", </a:t>
            </a:r>
            <a:r>
              <a:rPr lang="en-GB" sz="1400" dirty="0" err="1"/>
              <a:t>deviceCount</a:t>
            </a:r>
            <a:r>
              <a:rPr lang="en-GB" sz="1400" dirty="0"/>
              <a:t>: 1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sz="1400" dirty="0"/>
              <a:t>Record&lt;{</a:t>
            </a:r>
            <a:r>
              <a:rPr lang="en-GB" sz="1400" dirty="0" err="1"/>
              <a:t>roomName</a:t>
            </a:r>
            <a:r>
              <a:rPr lang="en-GB" sz="1400" dirty="0"/>
              <a:t>: "Room 102", </a:t>
            </a:r>
            <a:r>
              <a:rPr lang="en-GB" sz="1400" dirty="0" err="1"/>
              <a:t>deviceLabel</a:t>
            </a:r>
            <a:r>
              <a:rPr lang="en-GB" sz="1400" dirty="0"/>
              <a:t>: "Light", </a:t>
            </a:r>
            <a:r>
              <a:rPr lang="en-GB" sz="1400" dirty="0" err="1"/>
              <a:t>deviceCount</a:t>
            </a:r>
            <a:r>
              <a:rPr lang="en-GB" sz="1400" dirty="0"/>
              <a:t>: 1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sz="1400" dirty="0"/>
              <a:t>Record&lt;{</a:t>
            </a:r>
            <a:r>
              <a:rPr lang="en-GB" sz="1400" dirty="0" err="1"/>
              <a:t>roomName</a:t>
            </a:r>
            <a:r>
              <a:rPr lang="en-GB" sz="1400" dirty="0"/>
              <a:t>: "Room 102", </a:t>
            </a:r>
            <a:r>
              <a:rPr lang="en-GB" sz="1400" dirty="0" err="1"/>
              <a:t>deviceLabel</a:t>
            </a:r>
            <a:r>
              <a:rPr lang="en-GB" sz="1400" dirty="0"/>
              <a:t>: "Outlet", </a:t>
            </a:r>
            <a:r>
              <a:rPr lang="en-GB" sz="1400" dirty="0" err="1"/>
              <a:t>deviceCount</a:t>
            </a:r>
            <a:r>
              <a:rPr lang="en-GB" sz="1400" dirty="0"/>
              <a:t>: 1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sz="1400" dirty="0"/>
              <a:t>Record&lt;{</a:t>
            </a:r>
            <a:r>
              <a:rPr lang="en-GB" sz="1400" dirty="0" err="1"/>
              <a:t>roomName</a:t>
            </a:r>
            <a:r>
              <a:rPr lang="en-GB" sz="1400" dirty="0"/>
              <a:t>: "Room 201", </a:t>
            </a:r>
            <a:r>
              <a:rPr lang="en-GB" sz="1400" dirty="0" err="1"/>
              <a:t>deviceLabel</a:t>
            </a:r>
            <a:r>
              <a:rPr lang="en-GB" sz="1400" dirty="0"/>
              <a:t>: "</a:t>
            </a:r>
            <a:r>
              <a:rPr lang="en-GB" sz="1400" dirty="0" err="1"/>
              <a:t>CircuitBreaker</a:t>
            </a:r>
            <a:r>
              <a:rPr lang="en-GB" sz="1400" dirty="0"/>
              <a:t>", </a:t>
            </a:r>
            <a:r>
              <a:rPr lang="en-GB" sz="1400" dirty="0" err="1"/>
              <a:t>deviceCount</a:t>
            </a:r>
            <a:r>
              <a:rPr lang="en-GB" sz="1400" dirty="0"/>
              <a:t>: 1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sz="1400" dirty="0"/>
              <a:t>Record&lt;{</a:t>
            </a:r>
            <a:r>
              <a:rPr lang="en-GB" sz="1400" dirty="0" err="1"/>
              <a:t>roomName</a:t>
            </a:r>
            <a:r>
              <a:rPr lang="en-GB" sz="1400" dirty="0"/>
              <a:t>: "Room 201", </a:t>
            </a:r>
            <a:r>
              <a:rPr lang="en-GB" sz="1400" dirty="0" err="1"/>
              <a:t>deviceLabel</a:t>
            </a:r>
            <a:r>
              <a:rPr lang="en-GB" sz="1400" dirty="0"/>
              <a:t>: "Light", </a:t>
            </a:r>
            <a:r>
              <a:rPr lang="en-GB" sz="1400" dirty="0" err="1"/>
              <a:t>deviceCount</a:t>
            </a:r>
            <a:r>
              <a:rPr lang="en-GB" sz="1400" dirty="0"/>
              <a:t>: 1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sz="1400" dirty="0"/>
              <a:t>Record&lt;{</a:t>
            </a:r>
            <a:r>
              <a:rPr lang="en-GB" sz="1400" dirty="0" err="1"/>
              <a:t>roomName</a:t>
            </a:r>
            <a:r>
              <a:rPr lang="en-GB" sz="1400" dirty="0"/>
              <a:t>: "Room 201", </a:t>
            </a:r>
            <a:r>
              <a:rPr lang="en-GB" sz="1400" dirty="0" err="1"/>
              <a:t>deviceLabel</a:t>
            </a:r>
            <a:r>
              <a:rPr lang="en-GB" sz="1400" dirty="0"/>
              <a:t>: "Outlet", </a:t>
            </a:r>
            <a:r>
              <a:rPr lang="en-GB" sz="1400" dirty="0" err="1"/>
              <a:t>deviceCount</a:t>
            </a:r>
            <a:r>
              <a:rPr lang="en-GB" sz="1400" dirty="0"/>
              <a:t>: 1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sz="1400" dirty="0"/>
              <a:t>Record&lt;{</a:t>
            </a:r>
            <a:r>
              <a:rPr lang="en-GB" sz="1400" dirty="0" err="1"/>
              <a:t>roomName</a:t>
            </a:r>
            <a:r>
              <a:rPr lang="en-GB" sz="1400" dirty="0"/>
              <a:t>: "Room 201", </a:t>
            </a:r>
            <a:r>
              <a:rPr lang="en-GB" sz="1400" dirty="0" err="1"/>
              <a:t>deviceLabel</a:t>
            </a:r>
            <a:r>
              <a:rPr lang="en-GB" sz="1400" dirty="0"/>
              <a:t>: "Sensor", </a:t>
            </a:r>
            <a:r>
              <a:rPr lang="en-GB" sz="1400" dirty="0" err="1"/>
              <a:t>deviceCount</a:t>
            </a:r>
            <a:r>
              <a:rPr lang="en-GB" sz="1400" dirty="0"/>
              <a:t>: 1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sz="1400" dirty="0"/>
              <a:t>Record&lt;{</a:t>
            </a:r>
            <a:r>
              <a:rPr lang="en-GB" sz="1400" dirty="0" err="1"/>
              <a:t>roomName</a:t>
            </a:r>
            <a:r>
              <a:rPr lang="en-GB" sz="1400" dirty="0"/>
              <a:t>: "Room 104", </a:t>
            </a:r>
            <a:r>
              <a:rPr lang="en-GB" sz="1400" dirty="0" err="1"/>
              <a:t>deviceLabel</a:t>
            </a:r>
            <a:r>
              <a:rPr lang="en-GB" sz="1400" dirty="0"/>
              <a:t>: "</a:t>
            </a:r>
            <a:r>
              <a:rPr lang="en-GB" sz="1400" dirty="0" err="1"/>
              <a:t>CircuitBreaker</a:t>
            </a:r>
            <a:r>
              <a:rPr lang="en-GB" sz="1400" dirty="0"/>
              <a:t>", </a:t>
            </a:r>
            <a:r>
              <a:rPr lang="en-GB" sz="1400" dirty="0" err="1"/>
              <a:t>deviceCount</a:t>
            </a:r>
            <a:r>
              <a:rPr lang="en-GB" sz="1400" dirty="0"/>
              <a:t>: 1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sz="1400" dirty="0"/>
              <a:t>Record&lt;{</a:t>
            </a:r>
            <a:r>
              <a:rPr lang="en-GB" sz="1400" dirty="0" err="1"/>
              <a:t>roomName</a:t>
            </a:r>
            <a:r>
              <a:rPr lang="en-GB" sz="1400" dirty="0"/>
              <a:t>: "Room 104", </a:t>
            </a:r>
            <a:r>
              <a:rPr lang="en-GB" sz="1400" dirty="0" err="1"/>
              <a:t>deviceLabel</a:t>
            </a:r>
            <a:r>
              <a:rPr lang="en-GB" sz="1400" dirty="0"/>
              <a:t>: "Outlet", </a:t>
            </a:r>
            <a:r>
              <a:rPr lang="en-GB" sz="1400" dirty="0" err="1"/>
              <a:t>deviceCount</a:t>
            </a:r>
            <a:r>
              <a:rPr lang="en-GB" sz="1400" dirty="0"/>
              <a:t>: 1}&gt;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16EC84D-3265-E58C-163B-97C3F60B622E}"/>
              </a:ext>
            </a:extLst>
          </p:cNvPr>
          <p:cNvSpPr txBox="1"/>
          <p:nvPr/>
        </p:nvSpPr>
        <p:spPr>
          <a:xfrm>
            <a:off x="504000" y="1163782"/>
            <a:ext cx="11994246" cy="6862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RO" dirty="0"/>
              <a:t>Question #2: </a:t>
            </a:r>
            <a:r>
              <a:rPr lang="en-GB" dirty="0"/>
              <a:t>count the devices from each room and display the room name and device node label and count in descending order</a:t>
            </a:r>
          </a:p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23232519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D750D2-DA5B-E1D5-4424-DE6C0DC7CF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185C56F9-B93E-D0EB-67F5-16BA4D8422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en-US" dirty="0" err="1"/>
              <a:t>Ollama</a:t>
            </a:r>
            <a:r>
              <a:rPr lang="en-US" dirty="0"/>
              <a:t> + RAG = AI Assistant</a:t>
            </a:r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69B4F81-06F0-1915-3326-966B5BFA1C41}"/>
              </a:ext>
            </a:extLst>
          </p:cNvPr>
          <p:cNvSpPr txBox="1"/>
          <p:nvPr/>
        </p:nvSpPr>
        <p:spPr>
          <a:xfrm>
            <a:off x="504000" y="1146684"/>
            <a:ext cx="5883405" cy="9222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540000">
              <a:lnSpc>
                <a:spcPct val="120000"/>
              </a:lnSpc>
              <a:spcAft>
                <a:spcPts val="400"/>
              </a:spcAft>
            </a:pPr>
            <a:endParaRPr lang="en-GB" sz="1400" dirty="0"/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endParaRPr lang="en-GB" sz="1400" dirty="0"/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Check if the AI assistant is right for : Room 104 has 3 sensors?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C2CA993-0FF2-C29F-5E71-F3F70EE71E66}"/>
              </a:ext>
            </a:extLst>
          </p:cNvPr>
          <p:cNvSpPr txBox="1"/>
          <p:nvPr/>
        </p:nvSpPr>
        <p:spPr>
          <a:xfrm>
            <a:off x="504000" y="1163782"/>
            <a:ext cx="11994246" cy="6862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RO" dirty="0"/>
              <a:t>Question #2: </a:t>
            </a:r>
            <a:r>
              <a:rPr lang="en-GB" dirty="0"/>
              <a:t>count the devices from each room and display the room name and device node label and count in descending order</a:t>
            </a:r>
          </a:p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endParaRPr lang="en-RO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BC5DDCE-80F4-BA87-DB4E-9BF42D874D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611" y="2287788"/>
            <a:ext cx="11516564" cy="4066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0774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615431-9655-F9D3-BE5F-5A494DE09F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34C50E8E-D835-DB64-488F-96CD623FAF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en-US" dirty="0" err="1"/>
              <a:t>Ollama</a:t>
            </a:r>
            <a:r>
              <a:rPr lang="en-US" dirty="0"/>
              <a:t> + RAG = AI Assistant – how it works?</a:t>
            </a:r>
            <a:endParaRPr lang="de-D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199BDA2-02CF-95D3-4153-3E734093AC5F}"/>
              </a:ext>
            </a:extLst>
          </p:cNvPr>
          <p:cNvSpPr txBox="1"/>
          <p:nvPr/>
        </p:nvSpPr>
        <p:spPr>
          <a:xfrm>
            <a:off x="504000" y="1217755"/>
            <a:ext cx="3911968" cy="334546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// Create Locations</a:t>
            </a:r>
            <a:br>
              <a:rPr lang="en-GB" dirty="0"/>
            </a:br>
            <a:r>
              <a:rPr lang="en-GB" dirty="0"/>
              <a:t>CREATE (</a:t>
            </a:r>
            <a:r>
              <a:rPr lang="en-GB" dirty="0" err="1"/>
              <a:t>b:Building</a:t>
            </a:r>
            <a:r>
              <a:rPr lang="en-GB" dirty="0"/>
              <a:t> {name: '</a:t>
            </a:r>
            <a:r>
              <a:rPr lang="en-GB" dirty="0" err="1"/>
              <a:t>TechTower</a:t>
            </a:r>
            <a:r>
              <a:rPr lang="en-GB" dirty="0"/>
              <a:t>'})</a:t>
            </a:r>
            <a:br>
              <a:rPr lang="en-GB" dirty="0"/>
            </a:br>
            <a:r>
              <a:rPr lang="en-GB" dirty="0"/>
              <a:t>CREATE (f1:Floor {number: 1})</a:t>
            </a:r>
            <a:br>
              <a:rPr lang="en-GB" dirty="0"/>
            </a:br>
            <a:r>
              <a:rPr lang="en-GB" dirty="0"/>
              <a:t>…</a:t>
            </a:r>
            <a:br>
              <a:rPr lang="en-GB" dirty="0"/>
            </a:br>
            <a:r>
              <a:rPr lang="en-GB" dirty="0"/>
              <a:t>CREATE (r104:Room {name: 'Room 104'})</a:t>
            </a:r>
            <a:br>
              <a:rPr lang="en-GB" dirty="0"/>
            </a:br>
            <a:br>
              <a:rPr lang="en-GB" dirty="0"/>
            </a:br>
            <a:r>
              <a:rPr lang="en-GB" dirty="0"/>
              <a:t>// Location Hierarchy</a:t>
            </a:r>
            <a:br>
              <a:rPr lang="en-GB" dirty="0"/>
            </a:br>
            <a:r>
              <a:rPr lang="en-GB" dirty="0"/>
              <a:t>…</a:t>
            </a:r>
            <a:br>
              <a:rPr lang="en-GB" dirty="0"/>
            </a:br>
            <a:r>
              <a:rPr lang="en-GB" dirty="0"/>
              <a:t>CREATE (f1)-[:HAS_ROOM]-&gt;(r104)</a:t>
            </a:r>
          </a:p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endParaRPr lang="en-RO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B4D2882-C8B3-F853-F6E7-63D458F4AB8A}"/>
              </a:ext>
            </a:extLst>
          </p:cNvPr>
          <p:cNvSpPr txBox="1"/>
          <p:nvPr/>
        </p:nvSpPr>
        <p:spPr>
          <a:xfrm>
            <a:off x="5251492" y="1217755"/>
            <a:ext cx="6303392" cy="449655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CREATE (sensor104:Sensor {id: 'S-Temp-104', type: 'Temperature'})</a:t>
            </a:r>
            <a:br>
              <a:rPr lang="en-GB" dirty="0"/>
            </a:br>
            <a:r>
              <a:rPr lang="en-GB" dirty="0"/>
              <a:t>CREATE (sensor105:Sensor {id: 'S-Temp-105', type: 'Temperature'})</a:t>
            </a:r>
            <a:br>
              <a:rPr lang="en-GB" dirty="0"/>
            </a:br>
            <a:r>
              <a:rPr lang="en-GB" dirty="0"/>
              <a:t>CREATE (sensor106:Sensor {id: 'S-Temp-106', type: 'Temperature'})</a:t>
            </a:r>
            <a:br>
              <a:rPr lang="en-GB" dirty="0"/>
            </a:br>
            <a:r>
              <a:rPr lang="en-GB" dirty="0"/>
              <a:t>CREATE (light104:Light {id: 'L-104', type: 'LED'})</a:t>
            </a:r>
            <a:br>
              <a:rPr lang="en-GB" dirty="0"/>
            </a:br>
            <a:r>
              <a:rPr lang="en-GB" dirty="0"/>
              <a:t>CREATE (light105:Light {id: 'L-105', type: 'LED’})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….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CREATE (r104)-[:CONTAINS]-&gt;(sensor104)</a:t>
            </a:r>
            <a:br>
              <a:rPr lang="en-GB" dirty="0"/>
            </a:br>
            <a:r>
              <a:rPr lang="en-GB" dirty="0"/>
              <a:t>CREATE (r104)-[:CONTAINS]-&gt;(sensor105)</a:t>
            </a:r>
            <a:br>
              <a:rPr lang="en-GB" dirty="0"/>
            </a:br>
            <a:r>
              <a:rPr lang="en-GB" dirty="0"/>
              <a:t>CREATE (r104)-[:CONTAINS]-&gt;(sensor106)</a:t>
            </a:r>
            <a:br>
              <a:rPr lang="en-GB" dirty="0"/>
            </a:br>
            <a:r>
              <a:rPr lang="en-GB" dirty="0"/>
              <a:t>CREATE (r104)-[:CONTAINS]-&gt;(light104)</a:t>
            </a:r>
            <a:br>
              <a:rPr lang="en-GB" dirty="0"/>
            </a:br>
            <a:r>
              <a:rPr lang="en-GB" dirty="0"/>
              <a:t>CREATE (r104)-[:CONTAINS]-&gt;(light105)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endParaRPr lang="en-GB" dirty="0"/>
          </a:p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endParaRPr lang="en-RO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7066095-12C7-D836-2B77-8A3DE5778369}"/>
              </a:ext>
            </a:extLst>
          </p:cNvPr>
          <p:cNvCxnSpPr/>
          <p:nvPr/>
        </p:nvCxnSpPr>
        <p:spPr>
          <a:xfrm>
            <a:off x="4812145" y="1062182"/>
            <a:ext cx="0" cy="49784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67613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4E2745-83CE-A3F5-3D03-D2337CB3DB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ED4EFCA0-2425-20F2-106A-8AD65282A2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en-US" dirty="0" err="1"/>
              <a:t>Ollama</a:t>
            </a:r>
            <a:r>
              <a:rPr lang="en-US" dirty="0"/>
              <a:t> + RAG = AI Assistant – how it works?</a:t>
            </a:r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DF49777-D0E9-6C12-8C76-33468B60DD11}"/>
              </a:ext>
            </a:extLst>
          </p:cNvPr>
          <p:cNvSpPr txBox="1"/>
          <p:nvPr/>
        </p:nvSpPr>
        <p:spPr>
          <a:xfrm>
            <a:off x="266684" y="1440873"/>
            <a:ext cx="11925316" cy="106997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S</a:t>
            </a:r>
            <a:r>
              <a:rPr lang="en-RO" dirty="0"/>
              <a:t>tep 1: the question is send to Ollama. The context is enhanced with the DB schema 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question =  "count the devices from each room and display the room name and device node label and count in descending order"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12262108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F2E8F5-8DED-0F1E-D970-C70F364F26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AD7557B6-B48E-760D-6F1F-3A31B422DF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en-US" dirty="0" err="1"/>
              <a:t>Ollama</a:t>
            </a:r>
            <a:r>
              <a:rPr lang="en-US" dirty="0"/>
              <a:t> + RAG = AI Assistant – how it works?</a:t>
            </a:r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937BAB4-E1BB-E154-A774-BE9852DEBB14}"/>
              </a:ext>
            </a:extLst>
          </p:cNvPr>
          <p:cNvSpPr txBox="1"/>
          <p:nvPr/>
        </p:nvSpPr>
        <p:spPr>
          <a:xfrm>
            <a:off x="266684" y="1440873"/>
            <a:ext cx="9630137" cy="70018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S</a:t>
            </a:r>
            <a:r>
              <a:rPr lang="en-RO" dirty="0"/>
              <a:t>tep 1: the question is send to Ollama. The context is enhanced with the DB schema in an agentic style: 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   template = """</a:t>
            </a:r>
            <a:br>
              <a:rPr lang="en-GB" dirty="0"/>
            </a:br>
            <a:r>
              <a:rPr lang="en-GB" dirty="0"/>
              <a:t>    You are a Neo4J Cypher query designer.</a:t>
            </a:r>
            <a:br>
              <a:rPr lang="en-GB" dirty="0"/>
            </a:br>
            <a:r>
              <a:rPr lang="en-GB" dirty="0"/>
              <a:t>Given this Neo4J schema description.</a:t>
            </a:r>
            <a:br>
              <a:rPr lang="en-GB" dirty="0"/>
            </a:br>
            <a:br>
              <a:rPr lang="en-GB" dirty="0"/>
            </a:br>
            <a:r>
              <a:rPr lang="en-GB" dirty="0"/>
              <a:t>&lt;schema&gt;</a:t>
            </a:r>
            <a:br>
              <a:rPr lang="en-GB" dirty="0"/>
            </a:br>
            <a:r>
              <a:rPr lang="en-GB" dirty="0"/>
              <a:t>Nodes;</a:t>
            </a:r>
            <a:br>
              <a:rPr lang="en-GB" dirty="0"/>
            </a:br>
            <a:r>
              <a:rPr lang="en-GB" dirty="0"/>
              <a:t> - type: Building, properties: </a:t>
            </a:r>
            <a:br>
              <a:rPr lang="en-GB" dirty="0"/>
            </a:br>
            <a:r>
              <a:rPr lang="en-GB" dirty="0"/>
              <a:t>     + [String] name</a:t>
            </a:r>
            <a:br>
              <a:rPr lang="en-GB" dirty="0"/>
            </a:br>
            <a:r>
              <a:rPr lang="en-GB" dirty="0"/>
              <a:t> - type: Floor, properties: </a:t>
            </a:r>
            <a:br>
              <a:rPr lang="en-GB" dirty="0"/>
            </a:br>
            <a:r>
              <a:rPr lang="en-GB" dirty="0"/>
              <a:t>     + [Number] number</a:t>
            </a:r>
            <a:br>
              <a:rPr lang="en-GB" dirty="0"/>
            </a:br>
            <a:r>
              <a:rPr lang="en-GB" dirty="0"/>
              <a:t> - type: Room, properties: </a:t>
            </a:r>
            <a:br>
              <a:rPr lang="en-GB" dirty="0"/>
            </a:br>
            <a:r>
              <a:rPr lang="en-GB" dirty="0"/>
              <a:t>     + [String] name</a:t>
            </a:r>
            <a:br>
              <a:rPr lang="en-GB" dirty="0"/>
            </a:br>
            <a:r>
              <a:rPr lang="en-GB" dirty="0"/>
              <a:t>     </a:t>
            </a:r>
            <a:br>
              <a:rPr lang="en-GB" dirty="0"/>
            </a:br>
            <a:r>
              <a:rPr lang="en-GB" dirty="0"/>
              <a:t> - type: </a:t>
            </a:r>
            <a:r>
              <a:rPr lang="en-GB" dirty="0" err="1"/>
              <a:t>CircuitBreaker</a:t>
            </a:r>
            <a:r>
              <a:rPr lang="en-GB" dirty="0"/>
              <a:t>, properties: </a:t>
            </a:r>
            <a:br>
              <a:rPr lang="en-GB" dirty="0"/>
            </a:br>
            <a:r>
              <a:rPr lang="en-GB" dirty="0"/>
              <a:t>     + [String] name  </a:t>
            </a:r>
            <a:br>
              <a:rPr lang="en-GB" dirty="0"/>
            </a:br>
            <a:r>
              <a:rPr lang="en-GB" dirty="0"/>
              <a:t> - type: Light, properties: </a:t>
            </a:r>
            <a:br>
              <a:rPr lang="en-GB" dirty="0"/>
            </a:br>
            <a:r>
              <a:rPr lang="en-GB" dirty="0"/>
              <a:t>     + [String] type     </a:t>
            </a:r>
            <a:br>
              <a:rPr lang="en-GB" dirty="0"/>
            </a:br>
            <a:r>
              <a:rPr lang="en-GB" dirty="0"/>
              <a:t>     + [String] name </a:t>
            </a:r>
            <a:br>
              <a:rPr lang="en-GB" dirty="0"/>
            </a:br>
            <a:r>
              <a:rPr lang="en-GB" dirty="0"/>
              <a:t>     + [Number] power            </a:t>
            </a:r>
            <a:br>
              <a:rPr lang="en-GB" dirty="0"/>
            </a:br>
            <a:r>
              <a:rPr lang="en-GB" dirty="0"/>
              <a:t> - type: Outlet, properties: </a:t>
            </a:r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36682067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67B25D-1CCE-BFE8-9946-1DD8270FEE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F7FD8FFF-47E4-95DF-08AA-BABE239BB8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en-US" dirty="0" err="1"/>
              <a:t>Ollama</a:t>
            </a:r>
            <a:r>
              <a:rPr lang="en-US" dirty="0"/>
              <a:t> + RAG = AI Assistant – how it works?</a:t>
            </a:r>
            <a:endParaRPr lang="de-DE" dirty="0"/>
          </a:p>
        </p:txBody>
      </p:sp>
      <p:pic>
        <p:nvPicPr>
          <p:cNvPr id="3074" name="Picture 2" descr="chatgpt-meme-real-person">
            <a:extLst>
              <a:ext uri="{FF2B5EF4-FFF2-40B4-BE49-F238E27FC236}">
                <a16:creationId xmlns:a16="http://schemas.microsoft.com/office/drawing/2014/main" id="{4472FE26-6F24-965A-8E72-4895D3E2D8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059"/>
          <a:stretch>
            <a:fillRect/>
          </a:stretch>
        </p:blipFill>
        <p:spPr bwMode="auto">
          <a:xfrm>
            <a:off x="1666153" y="944643"/>
            <a:ext cx="8859693" cy="6385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3114455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EABCB4-336A-ECEB-C7E1-5C8D2A2B6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D379534F-C1FA-7B56-CFA4-CC6D437B72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en-US" dirty="0" err="1"/>
              <a:t>Ollama</a:t>
            </a:r>
            <a:r>
              <a:rPr lang="en-US" dirty="0"/>
              <a:t> + RAG = AI Assistant – how it works?</a:t>
            </a:r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1F4D431-8038-A587-FA43-3348309CCC3D}"/>
              </a:ext>
            </a:extLst>
          </p:cNvPr>
          <p:cNvSpPr txBox="1"/>
          <p:nvPr/>
        </p:nvSpPr>
        <p:spPr>
          <a:xfrm>
            <a:off x="266684" y="1440873"/>
            <a:ext cx="12724958" cy="643964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S</a:t>
            </a:r>
            <a:r>
              <a:rPr lang="en-RO" dirty="0"/>
              <a:t>tep 1: the question is send to Ollama. The context is enhanced with the DB schema in an agentic style: 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   Reduce hallucinations and narrow the response: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&lt;rule&gt;</a:t>
            </a:r>
            <a:br>
              <a:rPr lang="en-GB" dirty="0"/>
            </a:br>
            <a:r>
              <a:rPr lang="en-GB" dirty="0"/>
              <a:t>- Use only the information based on the &lt;schema&gt; to provide accurate answers for the &lt;question&gt;.</a:t>
            </a:r>
            <a:br>
              <a:rPr lang="en-GB" dirty="0"/>
            </a:br>
            <a:r>
              <a:rPr lang="en-GB" dirty="0"/>
              <a:t>- If you don't know, or the &lt;schema&gt; does not provide enough information, answer with "I don't know".</a:t>
            </a:r>
            <a:br>
              <a:rPr lang="en-GB" dirty="0"/>
            </a:br>
            <a:r>
              <a:rPr lang="en-GB" dirty="0"/>
              <a:t>- Always limit the query to 100 most relevant results.</a:t>
            </a:r>
            <a:br>
              <a:rPr lang="en-GB" dirty="0"/>
            </a:br>
            <a:r>
              <a:rPr lang="en-GB" dirty="0"/>
              <a:t>- The cypher must always return node properties and not the node itself.</a:t>
            </a:r>
            <a:br>
              <a:rPr lang="en-GB" dirty="0"/>
            </a:br>
            <a:r>
              <a:rPr lang="en-GB" dirty="0"/>
              <a:t>  For example:</a:t>
            </a:r>
            <a:br>
              <a:rPr lang="en-GB" dirty="0"/>
            </a:br>
            <a:r>
              <a:rPr lang="en-GB" dirty="0"/>
              <a:t>    + this one is not expected: `MATCH (</a:t>
            </a:r>
            <a:r>
              <a:rPr lang="en-GB" dirty="0" err="1"/>
              <a:t>u:User</a:t>
            </a:r>
            <a:r>
              <a:rPr lang="en-GB" dirty="0"/>
              <a:t>) RETURN u LIMIT 100`</a:t>
            </a:r>
            <a:br>
              <a:rPr lang="en-GB" dirty="0"/>
            </a:br>
            <a:r>
              <a:rPr lang="en-GB" dirty="0"/>
              <a:t>    + this one is expected: `MATCH (</a:t>
            </a:r>
            <a:r>
              <a:rPr lang="en-GB" dirty="0" err="1"/>
              <a:t>u:User</a:t>
            </a:r>
            <a:r>
              <a:rPr lang="en-GB" dirty="0"/>
              <a:t>) RETURN </a:t>
            </a:r>
            <a:r>
              <a:rPr lang="en-GB" dirty="0" err="1"/>
              <a:t>u.userId</a:t>
            </a:r>
            <a:r>
              <a:rPr lang="en-GB" dirty="0"/>
              <a:t>, </a:t>
            </a:r>
            <a:r>
              <a:rPr lang="en-GB" dirty="0" err="1"/>
              <a:t>u.username</a:t>
            </a:r>
            <a:r>
              <a:rPr lang="en-GB" dirty="0"/>
              <a:t>, </a:t>
            </a:r>
            <a:r>
              <a:rPr lang="en-GB" dirty="0" err="1"/>
              <a:t>u.registeredAt</a:t>
            </a:r>
            <a:r>
              <a:rPr lang="en-GB" dirty="0"/>
              <a:t>, </a:t>
            </a:r>
            <a:r>
              <a:rPr lang="en-GB" dirty="0" err="1"/>
              <a:t>u.displayName</a:t>
            </a:r>
            <a:r>
              <a:rPr lang="en-GB" dirty="0"/>
              <a:t> LIMIT 100`</a:t>
            </a:r>
            <a:br>
              <a:rPr lang="en-GB" dirty="0"/>
            </a:br>
            <a:r>
              <a:rPr lang="en-GB" dirty="0"/>
              <a:t>- Provide only Cypher query. No descriptive text.</a:t>
            </a:r>
            <a:br>
              <a:rPr lang="en-GB" dirty="0"/>
            </a:br>
            <a:r>
              <a:rPr lang="en-GB" dirty="0"/>
              <a:t>- Your output must be in one line of plain text, not formatted as code.</a:t>
            </a:r>
            <a:br>
              <a:rPr lang="en-GB" dirty="0"/>
            </a:br>
            <a:r>
              <a:rPr lang="en-GB" dirty="0"/>
              <a:t>- Always answer with one Cypher query. If more than one query exists, return only the first one.</a:t>
            </a:r>
            <a:br>
              <a:rPr lang="en-GB" dirty="0"/>
            </a:br>
            <a:r>
              <a:rPr lang="en-GB" dirty="0"/>
              <a:t>  For example:</a:t>
            </a:r>
            <a:br>
              <a:rPr lang="en-GB" dirty="0"/>
            </a:br>
            <a:r>
              <a:rPr lang="en-GB" dirty="0"/>
              <a:t>    + this one is not expected: `MATCH (</a:t>
            </a:r>
            <a:r>
              <a:rPr lang="en-GB" dirty="0" err="1"/>
              <a:t>u:User</a:t>
            </a:r>
            <a:r>
              <a:rPr lang="en-GB" dirty="0"/>
              <a:t>) WHERE </a:t>
            </a:r>
            <a:r>
              <a:rPr lang="en-GB" dirty="0" err="1"/>
              <a:t>u.displayName</a:t>
            </a:r>
            <a:r>
              <a:rPr lang="en-GB" dirty="0"/>
              <a:t>='</a:t>
            </a:r>
            <a:r>
              <a:rPr lang="en-GB" dirty="0" err="1"/>
              <a:t>brucewayne</a:t>
            </a:r>
            <a:r>
              <a:rPr lang="en-GB" dirty="0"/>
              <a:t>'; MATCH (</a:t>
            </a:r>
            <a:r>
              <a:rPr lang="en-GB" dirty="0" err="1"/>
              <a:t>u:User</a:t>
            </a:r>
            <a:r>
              <a:rPr lang="en-GB" dirty="0"/>
              <a:t>) WHERE </a:t>
            </a:r>
            <a:r>
              <a:rPr lang="en-GB" dirty="0" err="1"/>
              <a:t>u.username</a:t>
            </a:r>
            <a:r>
              <a:rPr lang="en-GB" dirty="0"/>
              <a:t>='batman'; `</a:t>
            </a:r>
            <a:br>
              <a:rPr lang="en-GB" dirty="0"/>
            </a:br>
            <a:r>
              <a:rPr lang="en-GB" dirty="0"/>
              <a:t>    + this one is expected: `MATCH (</a:t>
            </a:r>
            <a:r>
              <a:rPr lang="en-GB" dirty="0" err="1"/>
              <a:t>u:User</a:t>
            </a:r>
            <a:r>
              <a:rPr lang="en-GB" dirty="0"/>
              <a:t>) WHERE </a:t>
            </a:r>
            <a:r>
              <a:rPr lang="en-GB" dirty="0" err="1"/>
              <a:t>u.displayName</a:t>
            </a:r>
            <a:r>
              <a:rPr lang="en-GB" dirty="0"/>
              <a:t>='</a:t>
            </a:r>
            <a:r>
              <a:rPr lang="en-GB" dirty="0" err="1"/>
              <a:t>brucewayne</a:t>
            </a:r>
            <a:r>
              <a:rPr lang="en-GB" dirty="0"/>
              <a:t>'`</a:t>
            </a:r>
            <a:br>
              <a:rPr lang="en-GB" dirty="0"/>
            </a:br>
            <a:r>
              <a:rPr lang="en-GB" dirty="0"/>
              <a:t>- remove the &lt;think&gt; node  from the response</a:t>
            </a:r>
            <a:br>
              <a:rPr lang="en-GB" dirty="0"/>
            </a:br>
            <a:r>
              <a:rPr lang="en-GB" dirty="0"/>
              <a:t>&lt;rule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5435725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F11F59-D453-9EA8-09A4-736857F5D3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2FF687CD-8B4F-E4E7-C335-4549ACDE26BA}"/>
              </a:ext>
            </a:extLst>
          </p:cNvPr>
          <p:cNvSpPr txBox="1"/>
          <p:nvPr/>
        </p:nvSpPr>
        <p:spPr>
          <a:xfrm>
            <a:off x="590675" y="315993"/>
            <a:ext cx="11010651" cy="28315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9" tIns="60959" rIns="60959" bIns="60959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de-DE" sz="3200" kern="100" dirty="0">
              <a:solidFill>
                <a:srgbClr val="EA1C0A"/>
              </a:solidFill>
              <a:latin typeface="+mj-lt"/>
              <a:ea typeface="+mj-ea"/>
              <a:cs typeface="+mj-cs"/>
            </a:endParaRPr>
          </a:p>
          <a:p>
            <a:endParaRPr lang="en-US" sz="2400" dirty="0">
              <a:latin typeface="EON Brix Sans" panose="020B0500000000000000" pitchFamily="34" charset="77"/>
            </a:endParaRPr>
          </a:p>
          <a:p>
            <a:pPr marL="457200" indent="-457200">
              <a:buAutoNum type="arabicPeriod"/>
            </a:pPr>
            <a:r>
              <a:rPr lang="en-US" sz="2400" dirty="0">
                <a:latin typeface="EON Brix Sans" panose="020B0500000000000000" pitchFamily="34" charset="77"/>
              </a:rPr>
              <a:t>Generative AI capabilities</a:t>
            </a:r>
          </a:p>
          <a:p>
            <a:pPr marL="457200" indent="-457200">
              <a:buAutoNum type="arabicPeriod"/>
            </a:pPr>
            <a:r>
              <a:rPr lang="en-GB" sz="2400" dirty="0"/>
              <a:t>Implement a real AI assistant using one of the LLM capabilities: RAG (Retrieval-Augmented Generation)</a:t>
            </a:r>
          </a:p>
          <a:p>
            <a:pPr marL="457200" indent="-457200">
              <a:buAutoNum type="arabicPeriod"/>
            </a:pPr>
            <a:r>
              <a:rPr lang="en-US" sz="2400" dirty="0">
                <a:latin typeface="EON Brix Sans" panose="020B0500000000000000" pitchFamily="34" charset="77"/>
              </a:rPr>
              <a:t>Q&amp;A</a:t>
            </a:r>
          </a:p>
          <a:p>
            <a:endParaRPr lang="en-US" sz="2400" dirty="0">
              <a:latin typeface="EON Brix Sans" panose="020B0500000000000000" pitchFamily="34" charset="77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8FD1A110-D2F1-5C7E-C7FC-44C99FE58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23238113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75F51B-5C4F-F5F6-3715-0E9AAF7C65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BBAFF4EE-BA82-5815-E86A-5AF4988991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en-US" dirty="0" err="1"/>
              <a:t>Ollama</a:t>
            </a:r>
            <a:r>
              <a:rPr lang="en-US" dirty="0"/>
              <a:t> + RAG = AI Assistant – how it works?</a:t>
            </a:r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323D142-311E-BF12-94F1-F547B017AB58}"/>
              </a:ext>
            </a:extLst>
          </p:cNvPr>
          <p:cNvSpPr txBox="1"/>
          <p:nvPr/>
        </p:nvSpPr>
        <p:spPr>
          <a:xfrm>
            <a:off x="266684" y="1440873"/>
            <a:ext cx="11362149" cy="37558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Step 2: return the Neo4J cypher query: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endParaRPr lang="en-US" dirty="0"/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Model: gpt-oss:20b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Loading...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endParaRPr lang="en-GB" dirty="0"/>
          </a:p>
          <a:p>
            <a:pPr algn="just"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MATCH (</a:t>
            </a:r>
            <a:r>
              <a:rPr lang="en-GB" dirty="0" err="1"/>
              <a:t>r:Room</a:t>
            </a:r>
            <a:r>
              <a:rPr lang="en-GB" dirty="0"/>
              <a:t>)-[:CONTAINS]-&gt;(d) RETURN </a:t>
            </a:r>
            <a:r>
              <a:rPr lang="en-GB" dirty="0" err="1"/>
              <a:t>r.name</a:t>
            </a:r>
            <a:r>
              <a:rPr lang="en-GB" dirty="0"/>
              <a:t> AS </a:t>
            </a:r>
            <a:r>
              <a:rPr lang="en-GB" dirty="0" err="1"/>
              <a:t>roomName</a:t>
            </a:r>
            <a:r>
              <a:rPr lang="en-GB" dirty="0"/>
              <a:t>, labels(d)[0] AS </a:t>
            </a:r>
            <a:r>
              <a:rPr lang="en-GB" dirty="0" err="1"/>
              <a:t>deviceLabel</a:t>
            </a:r>
            <a:r>
              <a:rPr lang="en-GB" dirty="0"/>
              <a:t>, count(d) AS </a:t>
            </a:r>
            <a:r>
              <a:rPr lang="en-GB" dirty="0" err="1"/>
              <a:t>deviceCount</a:t>
            </a:r>
            <a:endParaRPr lang="en-GB" dirty="0"/>
          </a:p>
          <a:p>
            <a:pPr algn="just"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 ORDER BY </a:t>
            </a:r>
            <a:r>
              <a:rPr lang="en-GB" dirty="0" err="1"/>
              <a:t>deviceCount</a:t>
            </a:r>
            <a:r>
              <a:rPr lang="en-GB" dirty="0"/>
              <a:t> DESC LIMIT 100</a:t>
            </a:r>
          </a:p>
          <a:p>
            <a:pPr algn="just" defTabSz="540000">
              <a:lnSpc>
                <a:spcPct val="120000"/>
              </a:lnSpc>
              <a:spcAft>
                <a:spcPts val="400"/>
              </a:spcAft>
            </a:pPr>
            <a:endParaRPr lang="en-GB" dirty="0"/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Duration: 22.148921500s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Connection established.</a:t>
            </a:r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178138042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DCD773-BFAA-1E3D-326A-7F45CCAEE7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C2A73D71-D19C-4B68-FE21-F12418354E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en-US" dirty="0" err="1"/>
              <a:t>Ollama</a:t>
            </a:r>
            <a:r>
              <a:rPr lang="en-US" dirty="0"/>
              <a:t> + RAG = AI Assistant – how it works?</a:t>
            </a:r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FB9C9B6-1635-BC20-6E96-FD0FFEBC0047}"/>
              </a:ext>
            </a:extLst>
          </p:cNvPr>
          <p:cNvSpPr txBox="1"/>
          <p:nvPr/>
        </p:nvSpPr>
        <p:spPr>
          <a:xfrm>
            <a:off x="266684" y="1440873"/>
            <a:ext cx="7660752" cy="298844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Step 3: Run the cypher query against the Neo4j DB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Result: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Record&lt;{</a:t>
            </a:r>
            <a:r>
              <a:rPr lang="en-US" dirty="0" err="1"/>
              <a:t>roomName</a:t>
            </a:r>
            <a:r>
              <a:rPr lang="en-US" dirty="0"/>
              <a:t>: "Room 104", </a:t>
            </a:r>
            <a:r>
              <a:rPr lang="en-US" dirty="0" err="1"/>
              <a:t>deviceLabel</a:t>
            </a:r>
            <a:r>
              <a:rPr lang="en-US" dirty="0"/>
              <a:t>: "Sensor", </a:t>
            </a:r>
            <a:r>
              <a:rPr lang="en-US" dirty="0" err="1"/>
              <a:t>deviceCount</a:t>
            </a:r>
            <a:r>
              <a:rPr lang="en-US" dirty="0"/>
              <a:t>: 3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Record&lt;{</a:t>
            </a:r>
            <a:r>
              <a:rPr lang="en-US" dirty="0" err="1"/>
              <a:t>roomName</a:t>
            </a:r>
            <a:r>
              <a:rPr lang="en-US" dirty="0"/>
              <a:t>: "Room 104", </a:t>
            </a:r>
            <a:r>
              <a:rPr lang="en-US" dirty="0" err="1"/>
              <a:t>deviceLabel</a:t>
            </a:r>
            <a:r>
              <a:rPr lang="en-US" dirty="0"/>
              <a:t>: "Light", </a:t>
            </a:r>
            <a:r>
              <a:rPr lang="en-US" dirty="0" err="1"/>
              <a:t>deviceCount</a:t>
            </a:r>
            <a:r>
              <a:rPr lang="en-US" dirty="0"/>
              <a:t>: 2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Record&lt;{</a:t>
            </a:r>
            <a:r>
              <a:rPr lang="en-US" dirty="0" err="1"/>
              <a:t>roomName</a:t>
            </a:r>
            <a:r>
              <a:rPr lang="en-US" dirty="0"/>
              <a:t>: "Room 101", </a:t>
            </a:r>
            <a:r>
              <a:rPr lang="en-US" dirty="0" err="1"/>
              <a:t>deviceLabel</a:t>
            </a:r>
            <a:r>
              <a:rPr lang="en-US" dirty="0"/>
              <a:t>: "</a:t>
            </a:r>
            <a:r>
              <a:rPr lang="en-US" dirty="0" err="1"/>
              <a:t>CircuitBreaker</a:t>
            </a:r>
            <a:r>
              <a:rPr lang="en-US" dirty="0"/>
              <a:t>", </a:t>
            </a:r>
            <a:r>
              <a:rPr lang="en-US" dirty="0" err="1"/>
              <a:t>deviceCount</a:t>
            </a:r>
            <a:r>
              <a:rPr lang="en-US" dirty="0"/>
              <a:t>: 1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Record&lt;{</a:t>
            </a:r>
            <a:r>
              <a:rPr lang="en-US" dirty="0" err="1"/>
              <a:t>roomName</a:t>
            </a:r>
            <a:r>
              <a:rPr lang="en-US" dirty="0"/>
              <a:t>: "Room 101", </a:t>
            </a:r>
            <a:r>
              <a:rPr lang="en-US" dirty="0" err="1"/>
              <a:t>deviceLabel</a:t>
            </a:r>
            <a:r>
              <a:rPr lang="en-US" dirty="0"/>
              <a:t>: "Light", </a:t>
            </a:r>
            <a:r>
              <a:rPr lang="en-US" dirty="0" err="1"/>
              <a:t>deviceCount</a:t>
            </a:r>
            <a:r>
              <a:rPr lang="en-US" dirty="0"/>
              <a:t>: 1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Record&lt;{</a:t>
            </a:r>
            <a:r>
              <a:rPr lang="en-US" dirty="0" err="1"/>
              <a:t>roomName</a:t>
            </a:r>
            <a:r>
              <a:rPr lang="en-US" dirty="0"/>
              <a:t>: "Room 101", </a:t>
            </a:r>
            <a:r>
              <a:rPr lang="en-US" dirty="0" err="1"/>
              <a:t>deviceLabel</a:t>
            </a:r>
            <a:r>
              <a:rPr lang="en-US" dirty="0"/>
              <a:t>: "Outlet", </a:t>
            </a:r>
            <a:r>
              <a:rPr lang="en-US" dirty="0" err="1"/>
              <a:t>deviceCount</a:t>
            </a:r>
            <a:r>
              <a:rPr lang="en-US" dirty="0"/>
              <a:t>: 1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Record&lt;{</a:t>
            </a:r>
            <a:r>
              <a:rPr lang="en-US" dirty="0" err="1"/>
              <a:t>roomName</a:t>
            </a:r>
            <a:r>
              <a:rPr lang="en-US" dirty="0"/>
              <a:t>: "Room 101", </a:t>
            </a:r>
            <a:r>
              <a:rPr lang="en-US" dirty="0" err="1"/>
              <a:t>deviceLabel</a:t>
            </a:r>
            <a:r>
              <a:rPr lang="en-US" dirty="0"/>
              <a:t>: "Sensor", </a:t>
            </a:r>
            <a:r>
              <a:rPr lang="en-US" dirty="0" err="1"/>
              <a:t>deviceCount</a:t>
            </a:r>
            <a:r>
              <a:rPr lang="en-US" dirty="0"/>
              <a:t>: 1}&gt;</a:t>
            </a:r>
          </a:p>
        </p:txBody>
      </p:sp>
    </p:spTree>
    <p:extLst>
      <p:ext uri="{BB962C8B-B14F-4D97-AF65-F5344CB8AC3E}">
        <p14:creationId xmlns:p14="http://schemas.microsoft.com/office/powerpoint/2010/main" val="1544423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DEED47-92B8-579C-B523-16AADE603D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9E1D5BF2-53C9-1D98-71BC-0C0382EDE2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pPr algn="ctr"/>
            <a:r>
              <a:rPr lang="de-DE" dirty="0"/>
              <a:t>Neo4J - </a:t>
            </a:r>
            <a:r>
              <a:rPr lang="en-RO" dirty="0"/>
              <a:t>other use cases and capabilities</a:t>
            </a:r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EDAF927-2FE0-08C8-5C76-819C4F021CAC}"/>
              </a:ext>
            </a:extLst>
          </p:cNvPr>
          <p:cNvSpPr txBox="1"/>
          <p:nvPr/>
        </p:nvSpPr>
        <p:spPr>
          <a:xfrm>
            <a:off x="618836" y="1348509"/>
            <a:ext cx="8659294" cy="643964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r>
              <a:rPr lang="en-RO" dirty="0"/>
              <a:t>Step 4: sent the records again to Ollama with an agentic template.</a:t>
            </a:r>
          </a:p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r>
              <a:rPr lang="en-RO" dirty="0"/>
              <a:t>Here we can config an output format, so that the output can be exported in different formats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RO" dirty="0"/>
              <a:t>E.g: </a:t>
            </a:r>
            <a:r>
              <a:rPr lang="en-GB" dirty="0"/>
              <a:t>template = """</a:t>
            </a:r>
            <a:br>
              <a:rPr lang="en-GB" dirty="0"/>
            </a:br>
            <a:r>
              <a:rPr lang="en-GB" dirty="0"/>
              <a:t>    Use the given knowledge-graph to answer the question.</a:t>
            </a:r>
            <a:br>
              <a:rPr lang="en-GB" dirty="0"/>
            </a:br>
            <a:r>
              <a:rPr lang="en-GB" dirty="0"/>
              <a:t>The knowledge-graph contains a CSV formatted text with relevant data.</a:t>
            </a:r>
            <a:br>
              <a:rPr lang="en-GB" dirty="0"/>
            </a:br>
            <a:r>
              <a:rPr lang="en-GB" dirty="0"/>
              <a:t>If you don't know the answer based on given knowledge-graph, just say that you don't know.</a:t>
            </a:r>
            <a:br>
              <a:rPr lang="en-GB" dirty="0"/>
            </a:br>
            <a:r>
              <a:rPr lang="en-GB" dirty="0"/>
              <a:t>---</a:t>
            </a:r>
            <a:br>
              <a:rPr lang="en-GB" dirty="0"/>
            </a:br>
            <a:br>
              <a:rPr lang="en-GB" dirty="0"/>
            </a:br>
            <a:r>
              <a:rPr lang="en-GB" dirty="0"/>
              <a:t>This knowledge-graph contains data about a building management system.</a:t>
            </a:r>
            <a:br>
              <a:rPr lang="en-GB" dirty="0"/>
            </a:br>
            <a:r>
              <a:rPr lang="en-GB" dirty="0"/>
              <a:t>&lt;knowledge-graph&gt;</a:t>
            </a:r>
            <a:br>
              <a:rPr lang="en-GB" dirty="0"/>
            </a:br>
            <a:r>
              <a:rPr lang="en-GB" dirty="0"/>
              <a:t>{</a:t>
            </a:r>
            <a:r>
              <a:rPr lang="en-GB" dirty="0" err="1"/>
              <a:t>knowledgeGraphContext</a:t>
            </a:r>
            <a:r>
              <a:rPr lang="en-GB" dirty="0"/>
              <a:t>}</a:t>
            </a:r>
            <a:br>
              <a:rPr lang="en-GB" dirty="0"/>
            </a:br>
            <a:r>
              <a:rPr lang="en-GB" dirty="0"/>
              <a:t>&lt;knowledge-graph&gt;</a:t>
            </a:r>
            <a:br>
              <a:rPr lang="en-GB" dirty="0"/>
            </a:br>
            <a:br>
              <a:rPr lang="en-GB" dirty="0"/>
            </a:br>
            <a:r>
              <a:rPr lang="en-GB" dirty="0"/>
              <a:t>---</a:t>
            </a:r>
            <a:br>
              <a:rPr lang="en-GB" dirty="0"/>
            </a:br>
            <a:br>
              <a:rPr lang="en-GB" dirty="0"/>
            </a:br>
            <a:r>
              <a:rPr lang="en-GB" dirty="0"/>
              <a:t>&lt;question&gt;</a:t>
            </a:r>
            <a:br>
              <a:rPr lang="en-GB" dirty="0"/>
            </a:br>
            <a:r>
              <a:rPr lang="en-GB" dirty="0"/>
              <a:t>{question}</a:t>
            </a:r>
            <a:br>
              <a:rPr lang="en-GB" dirty="0"/>
            </a:br>
            <a:r>
              <a:rPr lang="en-GB" dirty="0"/>
              <a:t>&lt;question&gt;</a:t>
            </a:r>
          </a:p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11266710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E949BF-7E8C-CE7C-957B-BE2811931B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AEA63481-96D9-2ED4-D2AA-BE6792D6E5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pPr algn="ctr"/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54BB9AF-28B7-878C-DBA9-D86AC027AEA6}"/>
              </a:ext>
            </a:extLst>
          </p:cNvPr>
          <p:cNvSpPr txBox="1"/>
          <p:nvPr/>
        </p:nvSpPr>
        <p:spPr>
          <a:xfrm>
            <a:off x="581891" y="64655"/>
            <a:ext cx="5402505" cy="83601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r>
              <a:rPr lang="en-RO" dirty="0"/>
              <a:t>Step </a:t>
            </a:r>
            <a:r>
              <a:rPr lang="en-US" dirty="0"/>
              <a:t>5: Final response from Rag: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**Device counts by room (sorted by count descending)**  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endParaRPr lang="en-US" dirty="0"/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 Room      | Device Label   | Count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-----------|----------------|-------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 **Room 104** | Sensor         | 3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           | Light          | 2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           | </a:t>
            </a:r>
            <a:r>
              <a:rPr lang="en-US" dirty="0" err="1"/>
              <a:t>CircuitBreaker</a:t>
            </a:r>
            <a:r>
              <a:rPr lang="en-US" dirty="0"/>
              <a:t> | 1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           | Outlet         | 1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 **Room 101** | </a:t>
            </a:r>
            <a:r>
              <a:rPr lang="en-US" dirty="0" err="1"/>
              <a:t>CircuitBreaker</a:t>
            </a:r>
            <a:r>
              <a:rPr lang="en-US" dirty="0"/>
              <a:t> | 1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           | Light          | 1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           | Outlet         | 1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           | Sensor         | 1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 **Room 102** | </a:t>
            </a:r>
            <a:r>
              <a:rPr lang="en-US" dirty="0" err="1"/>
              <a:t>CircuitBreaker</a:t>
            </a:r>
            <a:r>
              <a:rPr lang="en-US" dirty="0"/>
              <a:t> | 1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           | Light          | 1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           | Outlet         | 1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 **Room 201** | </a:t>
            </a:r>
            <a:r>
              <a:rPr lang="en-US" dirty="0" err="1"/>
              <a:t>CircuitBreaker</a:t>
            </a:r>
            <a:r>
              <a:rPr lang="en-US" dirty="0"/>
              <a:t> | 1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           | Light          | 1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           | Outlet         | 1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           | Sensor         | 1 |</a:t>
            </a:r>
          </a:p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endParaRPr lang="en-GB" dirty="0"/>
          </a:p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368836383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B9C696-AD06-4044-D92B-5318F4DE1E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EB668490-856F-8433-132F-45543CBF8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pPr algn="ctr"/>
            <a:endParaRPr lang="de-DE" dirty="0"/>
          </a:p>
        </p:txBody>
      </p:sp>
      <p:pic>
        <p:nvPicPr>
          <p:cNvPr id="1026" name="Picture 2" descr="That’s All Folks - Bugs Bunny">
            <a:extLst>
              <a:ext uri="{FF2B5EF4-FFF2-40B4-BE49-F238E27FC236}">
                <a16:creationId xmlns:a16="http://schemas.microsoft.com/office/drawing/2014/main" id="{0F34C735-F2E0-E3C6-21D2-9E1A609A62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1308" y="1047709"/>
            <a:ext cx="7075055" cy="5306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12703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FC645B-1D19-AF2E-33FB-E7530D7A3D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03DA154F-77A2-26FF-C037-98DF65C656D7}"/>
              </a:ext>
            </a:extLst>
          </p:cNvPr>
          <p:cNvSpPr txBox="1"/>
          <p:nvPr/>
        </p:nvSpPr>
        <p:spPr>
          <a:xfrm>
            <a:off x="2577130" y="-273766"/>
            <a:ext cx="11010651" cy="76328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9" tIns="60959" rIns="60959" bIns="60959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de-DE" sz="3200" kern="100" dirty="0">
              <a:solidFill>
                <a:srgbClr val="EA1C0A"/>
              </a:solidFill>
              <a:latin typeface="+mj-lt"/>
              <a:ea typeface="+mj-ea"/>
              <a:cs typeface="+mj-cs"/>
            </a:endParaRPr>
          </a:p>
          <a:p>
            <a:r>
              <a:rPr lang="en-GB" dirty="0"/>
              <a:t>///////////////one node- discover the network topology</a:t>
            </a:r>
            <a:br>
              <a:rPr lang="en-GB" dirty="0"/>
            </a:br>
            <a:r>
              <a:rPr lang="en-GB" dirty="0"/>
              <a:t>//find connections around one node, by hierarchy level, unidirectional</a:t>
            </a:r>
            <a:br>
              <a:rPr lang="en-GB" dirty="0"/>
            </a:br>
            <a:r>
              <a:rPr lang="en-GB" dirty="0"/>
              <a:t>match path=(</a:t>
            </a:r>
            <a:r>
              <a:rPr lang="en-GB" dirty="0" err="1"/>
              <a:t>b:Building</a:t>
            </a:r>
            <a:r>
              <a:rPr lang="en-GB" dirty="0"/>
              <a:t>)-[*1..3]-(r)  return path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//one </a:t>
            </a:r>
            <a:r>
              <a:rPr lang="en-GB" dirty="0" err="1"/>
              <a:t>node:find</a:t>
            </a:r>
            <a:r>
              <a:rPr lang="en-GB" dirty="0"/>
              <a:t> connections around one node, by hierarchy level, directional</a:t>
            </a:r>
            <a:br>
              <a:rPr lang="en-GB" dirty="0"/>
            </a:br>
            <a:r>
              <a:rPr lang="en-GB" dirty="0"/>
              <a:t>match path=(</a:t>
            </a:r>
            <a:r>
              <a:rPr lang="en-GB" dirty="0" err="1"/>
              <a:t>b:Building</a:t>
            </a:r>
            <a:r>
              <a:rPr lang="en-GB" dirty="0"/>
              <a:t>)-[*1..1]-&gt;(r)  return path</a:t>
            </a:r>
            <a:br>
              <a:rPr lang="en-GB" dirty="0"/>
            </a:br>
            <a:r>
              <a:rPr lang="en-GB" dirty="0"/>
              <a:t>///////////////////////////////////////////////////</a:t>
            </a:r>
            <a:br>
              <a:rPr lang="en-GB" dirty="0"/>
            </a:br>
            <a:br>
              <a:rPr lang="en-GB" dirty="0"/>
            </a:br>
            <a:r>
              <a:rPr lang="en-GB" dirty="0"/>
              <a:t>////////////////two nodes:</a:t>
            </a:r>
            <a:br>
              <a:rPr lang="en-GB" dirty="0"/>
            </a:br>
            <a:r>
              <a:rPr lang="en-GB" dirty="0"/>
              <a:t>//find all connections between 2 nodes</a:t>
            </a:r>
            <a:br>
              <a:rPr lang="en-GB" dirty="0"/>
            </a:br>
            <a:r>
              <a:rPr lang="en-GB" dirty="0"/>
              <a:t>match path=(</a:t>
            </a:r>
            <a:r>
              <a:rPr lang="en-GB" dirty="0" err="1"/>
              <a:t>b:Building</a:t>
            </a:r>
            <a:r>
              <a:rPr lang="en-GB" dirty="0"/>
              <a:t>)-[*1..4]-(</a:t>
            </a:r>
            <a:r>
              <a:rPr lang="en-GB" dirty="0" err="1"/>
              <a:t>r:Room</a:t>
            </a:r>
            <a:r>
              <a:rPr lang="en-GB" dirty="0"/>
              <a:t>)  return path</a:t>
            </a:r>
            <a:br>
              <a:rPr lang="en-GB" dirty="0"/>
            </a:br>
            <a:br>
              <a:rPr lang="en-GB" dirty="0"/>
            </a:br>
            <a:r>
              <a:rPr lang="en-GB" dirty="0"/>
              <a:t>//find shortest path between 2 nodes</a:t>
            </a:r>
            <a:br>
              <a:rPr lang="en-GB" dirty="0"/>
            </a:br>
            <a:r>
              <a:rPr lang="en-GB" dirty="0"/>
              <a:t>match path=</a:t>
            </a:r>
            <a:r>
              <a:rPr lang="en-GB" dirty="0" err="1"/>
              <a:t>shortestPath</a:t>
            </a:r>
            <a:r>
              <a:rPr lang="en-GB" dirty="0"/>
              <a:t>((</a:t>
            </a:r>
            <a:r>
              <a:rPr lang="en-GB" dirty="0" err="1"/>
              <a:t>b:Building</a:t>
            </a:r>
            <a:r>
              <a:rPr lang="en-GB" dirty="0"/>
              <a:t>)-[*1..4]-(</a:t>
            </a:r>
            <a:r>
              <a:rPr lang="en-GB" dirty="0" err="1"/>
              <a:t>r:Room</a:t>
            </a:r>
            <a:r>
              <a:rPr lang="en-GB" dirty="0"/>
              <a:t>))  return path</a:t>
            </a:r>
            <a:br>
              <a:rPr lang="en-GB" dirty="0"/>
            </a:br>
            <a:r>
              <a:rPr lang="en-GB" dirty="0"/>
              <a:t>///////////////////////////////////////////////////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//recommendation system</a:t>
            </a:r>
            <a:br>
              <a:rPr lang="en-GB" dirty="0"/>
            </a:br>
            <a:r>
              <a:rPr lang="en-GB" dirty="0"/>
              <a:t>match</a:t>
            </a:r>
            <a:br>
              <a:rPr lang="en-GB" dirty="0"/>
            </a:br>
            <a:r>
              <a:rPr lang="en-GB" dirty="0"/>
              <a:t>path1=(s1:Sensor{id:"S-Temp-101"})-[:MONITORS]-&gt;(r1:Room)&lt;-[:HAS_ROOM]-(f1:Floor{number:1}),</a:t>
            </a:r>
            <a:br>
              <a:rPr lang="en-GB" dirty="0"/>
            </a:br>
            <a:r>
              <a:rPr lang="en-GB" dirty="0"/>
              <a:t> path2= (s2:Sensor)-[:MONITORS]-&gt;(r2:Room)&lt;-[:HAS_ROOM]-(f1:Floor{number:1})</a:t>
            </a:r>
            <a:br>
              <a:rPr lang="en-GB" dirty="0"/>
            </a:br>
            <a:r>
              <a:rPr lang="en-GB" dirty="0"/>
              <a:t>  return path1,path2</a:t>
            </a:r>
          </a:p>
          <a:p>
            <a:endParaRPr lang="en-US" sz="2400" dirty="0">
              <a:latin typeface="EON Brix Sans" panose="020B0500000000000000" pitchFamily="34" charset="77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4161A4B4-CD78-1A63-DD45-F50525046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de-DE" dirty="0"/>
              <a:t>Neo4J</a:t>
            </a:r>
          </a:p>
        </p:txBody>
      </p:sp>
    </p:spTree>
    <p:extLst>
      <p:ext uri="{BB962C8B-B14F-4D97-AF65-F5344CB8AC3E}">
        <p14:creationId xmlns:p14="http://schemas.microsoft.com/office/powerpoint/2010/main" val="263529217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0DF607-4FB0-899F-0EC1-5630768EF4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B96B7B57-A668-F7A8-C2E0-C38A30A8648E}"/>
              </a:ext>
            </a:extLst>
          </p:cNvPr>
          <p:cNvSpPr txBox="1"/>
          <p:nvPr/>
        </p:nvSpPr>
        <p:spPr>
          <a:xfrm>
            <a:off x="369957" y="1176662"/>
            <a:ext cx="11010651" cy="45858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9" tIns="60959" rIns="60959" bIns="60959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de-DE" sz="3200" kern="100" dirty="0">
              <a:solidFill>
                <a:srgbClr val="EA1C0A"/>
              </a:solidFill>
              <a:latin typeface="+mj-lt"/>
              <a:ea typeface="+mj-ea"/>
              <a:cs typeface="+mj-cs"/>
            </a:endParaRPr>
          </a:p>
          <a:p>
            <a:pPr marL="285750" indent="-285750">
              <a:buFontTx/>
              <a:buChar char="-"/>
            </a:pPr>
            <a:r>
              <a:rPr lang="en-GB" dirty="0"/>
              <a:t>find shortest path between 2 nodes= can be used for energy load balancing (some users have too much energy, other have none) </a:t>
            </a:r>
            <a:r>
              <a:rPr lang="en-GB" dirty="0" err="1"/>
              <a:t>e.g</a:t>
            </a:r>
            <a:r>
              <a:rPr lang="en-GB" dirty="0"/>
              <a:t>: photovoltaic systems, energy grid, gas grid, etc</a:t>
            </a:r>
            <a:br>
              <a:rPr lang="en-GB" dirty="0"/>
            </a:br>
            <a:endParaRPr lang="en-GB" dirty="0"/>
          </a:p>
          <a:p>
            <a:pPr marL="285750" indent="-285750">
              <a:buFontTx/>
              <a:buChar char="-"/>
            </a:pPr>
            <a:r>
              <a:rPr lang="en-GB" dirty="0"/>
              <a:t>find shortest path between 2 nodes= can be used to find another (near) energy source (node) in case of primary energy source is failing  </a:t>
            </a:r>
            <a:r>
              <a:rPr lang="en-GB" dirty="0" err="1"/>
              <a:t>e.g</a:t>
            </a:r>
            <a:r>
              <a:rPr lang="en-GB" dirty="0"/>
              <a:t>: Miroslava area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//recommendation system= can be used to find alternative energy sources between neighbourhoods </a:t>
            </a:r>
            <a:br>
              <a:rPr lang="en-GB" dirty="0"/>
            </a:br>
            <a:r>
              <a:rPr lang="en-GB" dirty="0"/>
              <a:t>match, can find similar configurations of a device in another location:</a:t>
            </a:r>
          </a:p>
          <a:p>
            <a:r>
              <a:rPr lang="en-GB" dirty="0" err="1"/>
              <a:t>E.g</a:t>
            </a:r>
            <a:r>
              <a:rPr lang="en-GB" dirty="0"/>
              <a:t>:</a:t>
            </a:r>
            <a:br>
              <a:rPr lang="en-GB" dirty="0"/>
            </a:br>
            <a:r>
              <a:rPr lang="en-GB" dirty="0"/>
              <a:t>path1=(s1:Sensor{id:"S-Temp-101"})-[:MONITORS]-&gt;(r1:Room)&lt;-[:HAS_ROOM]-(f1:Floor{number:1}),</a:t>
            </a:r>
            <a:br>
              <a:rPr lang="en-GB" dirty="0"/>
            </a:br>
            <a:r>
              <a:rPr lang="en-GB" dirty="0"/>
              <a:t> path2= (s2:Sensor)-[:MONITORS]-&gt;(r2:Room)&lt;-[:HAS_ROOM]-(f1:Floor{number:1})</a:t>
            </a:r>
            <a:br>
              <a:rPr lang="en-GB" dirty="0"/>
            </a:br>
            <a:r>
              <a:rPr lang="en-GB" dirty="0"/>
              <a:t>  return path1,path2</a:t>
            </a:r>
          </a:p>
          <a:p>
            <a:endParaRPr lang="en-US" sz="2400" dirty="0">
              <a:latin typeface="EON Brix Sans" panose="020B0500000000000000" pitchFamily="34" charset="77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3EAB00EF-BED2-7E1B-9BA8-9D41D3BE70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de-DE" dirty="0"/>
              <a:t>Neo4J</a:t>
            </a:r>
          </a:p>
        </p:txBody>
      </p:sp>
    </p:spTree>
    <p:extLst>
      <p:ext uri="{BB962C8B-B14F-4D97-AF65-F5344CB8AC3E}">
        <p14:creationId xmlns:p14="http://schemas.microsoft.com/office/powerpoint/2010/main" val="240939345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D14162-9D66-BC4E-4EA1-E1313E6B31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7F2503F4-23EB-A40D-A7B6-07D544BEAF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de-DE" dirty="0"/>
              <a:t>Neo4J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24B6373-B082-480F-BD28-649268D96C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36536" y="-210237"/>
            <a:ext cx="9655464" cy="6564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95020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165928-1DB6-5D24-BC15-5FD0E52561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34FD89BF-6CEF-029D-3CF6-4806DEF6D0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de-DE" dirty="0"/>
              <a:t>Neo4J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158E052-0AED-2CA8-0582-8E0F975727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5640" y="164623"/>
            <a:ext cx="8820719" cy="5343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517674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3E2543-00B9-57C0-2F58-1E318651F0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46B9D71A-A014-6007-F792-41CBA6A6ED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999" y="504000"/>
            <a:ext cx="11826545" cy="440643"/>
          </a:xfrm>
        </p:spPr>
        <p:txBody>
          <a:bodyPr/>
          <a:lstStyle/>
          <a:p>
            <a:r>
              <a:rPr lang="de-DE" dirty="0" err="1"/>
              <a:t>Ollama</a:t>
            </a:r>
            <a:r>
              <a:rPr lang="de-DE" dirty="0"/>
              <a:t>= </a:t>
            </a:r>
            <a:r>
              <a:rPr lang="de-DE" dirty="0" err="1"/>
              <a:t>download</a:t>
            </a:r>
            <a:r>
              <a:rPr lang="de-DE" dirty="0"/>
              <a:t> </a:t>
            </a:r>
            <a:r>
              <a:rPr lang="de-DE" dirty="0" err="1"/>
              <a:t>free</a:t>
            </a:r>
            <a:r>
              <a:rPr lang="de-DE" dirty="0"/>
              <a:t> LLM </a:t>
            </a:r>
            <a:r>
              <a:rPr lang="de-DE" dirty="0" err="1"/>
              <a:t>models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(offline </a:t>
            </a:r>
            <a:r>
              <a:rPr lang="de-DE" dirty="0" err="1"/>
              <a:t>mode</a:t>
            </a:r>
            <a:r>
              <a:rPr lang="de-DE" dirty="0"/>
              <a:t>/ </a:t>
            </a:r>
            <a:r>
              <a:rPr lang="de-DE" dirty="0" err="1"/>
              <a:t>no</a:t>
            </a:r>
            <a:r>
              <a:rPr lang="de-DE" dirty="0"/>
              <a:t> Internet </a:t>
            </a:r>
            <a:r>
              <a:rPr lang="de-DE" dirty="0" err="1"/>
              <a:t>needed</a:t>
            </a:r>
            <a:r>
              <a:rPr lang="de-DE" dirty="0"/>
              <a:t>= </a:t>
            </a:r>
            <a:r>
              <a:rPr lang="de-DE" dirty="0" err="1"/>
              <a:t>full</a:t>
            </a:r>
            <a:r>
              <a:rPr lang="de-DE" dirty="0"/>
              <a:t> </a:t>
            </a:r>
            <a:r>
              <a:rPr lang="de-DE" dirty="0" err="1"/>
              <a:t>privacy</a:t>
            </a:r>
            <a:r>
              <a:rPr lang="de-DE" dirty="0"/>
              <a:t>)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7A56377-8A5C-6CD3-91CB-B9F516F4E7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2400" y="1546861"/>
            <a:ext cx="7772400" cy="5311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67413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F0CDCD-16C7-8F49-4159-388000701D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79A4DFB4-BE30-74E8-6C48-E108FE1C91D5}"/>
              </a:ext>
            </a:extLst>
          </p:cNvPr>
          <p:cNvSpPr txBox="1"/>
          <p:nvPr/>
        </p:nvSpPr>
        <p:spPr>
          <a:xfrm>
            <a:off x="590675" y="315993"/>
            <a:ext cx="11010651" cy="135421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9" tIns="60959" rIns="60959" bIns="60959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de-DE" sz="3200" kern="100" dirty="0">
              <a:solidFill>
                <a:srgbClr val="EA1C0A"/>
              </a:solidFill>
              <a:latin typeface="+mj-lt"/>
              <a:ea typeface="+mj-ea"/>
              <a:cs typeface="+mj-cs"/>
            </a:endParaRPr>
          </a:p>
          <a:p>
            <a:endParaRPr lang="en-US" sz="2400" dirty="0">
              <a:latin typeface="EON Brix Sans" panose="020B0500000000000000" pitchFamily="34" charset="77"/>
            </a:endParaRPr>
          </a:p>
          <a:p>
            <a:endParaRPr lang="en-US" sz="2400" dirty="0">
              <a:latin typeface="EON Brix Sans" panose="020B0500000000000000" pitchFamily="34" charset="77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29CA76C6-C9BE-A82E-6720-4CDB39DBEB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endParaRPr lang="de-DE" dirty="0"/>
          </a:p>
        </p:txBody>
      </p:sp>
      <p:pic>
        <p:nvPicPr>
          <p:cNvPr id="2050" name="Picture 2" descr="The Best Memes about AI: Part Deux - by Mark McNeilly">
            <a:extLst>
              <a:ext uri="{FF2B5EF4-FFF2-40B4-BE49-F238E27FC236}">
                <a16:creationId xmlns:a16="http://schemas.microsoft.com/office/drawing/2014/main" id="{A50DC7F6-71D7-3392-61D0-2708550CBB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5475" y="0"/>
            <a:ext cx="586105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950308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40089C-D576-A697-DEFF-DF827F9310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5A02FCF1-1AF8-F296-7C16-2735E02ACA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999" y="504000"/>
            <a:ext cx="11826545" cy="440643"/>
          </a:xfrm>
        </p:spPr>
        <p:txBody>
          <a:bodyPr/>
          <a:lstStyle/>
          <a:p>
            <a:r>
              <a:rPr lang="de-DE" dirty="0" err="1"/>
              <a:t>Ollama</a:t>
            </a:r>
            <a:r>
              <a:rPr lang="de-DE" dirty="0"/>
              <a:t>= </a:t>
            </a:r>
            <a:r>
              <a:rPr lang="de-DE" dirty="0" err="1"/>
              <a:t>download</a:t>
            </a:r>
            <a:r>
              <a:rPr lang="de-DE" dirty="0"/>
              <a:t> </a:t>
            </a:r>
            <a:r>
              <a:rPr lang="de-DE" dirty="0" err="1"/>
              <a:t>free</a:t>
            </a:r>
            <a:r>
              <a:rPr lang="de-DE" dirty="0"/>
              <a:t> LLM </a:t>
            </a:r>
            <a:r>
              <a:rPr lang="de-DE" dirty="0" err="1"/>
              <a:t>models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(offline </a:t>
            </a:r>
            <a:r>
              <a:rPr lang="de-DE" dirty="0" err="1"/>
              <a:t>mode</a:t>
            </a:r>
            <a:r>
              <a:rPr lang="de-DE" dirty="0"/>
              <a:t>/ </a:t>
            </a:r>
            <a:r>
              <a:rPr lang="de-DE" dirty="0" err="1"/>
              <a:t>no</a:t>
            </a:r>
            <a:r>
              <a:rPr lang="de-DE" dirty="0"/>
              <a:t> Internet </a:t>
            </a:r>
            <a:r>
              <a:rPr lang="de-DE" dirty="0" err="1"/>
              <a:t>needed</a:t>
            </a:r>
            <a:r>
              <a:rPr lang="de-DE" dirty="0"/>
              <a:t>= </a:t>
            </a:r>
            <a:r>
              <a:rPr lang="de-DE" dirty="0" err="1"/>
              <a:t>full</a:t>
            </a:r>
            <a:r>
              <a:rPr lang="de-DE" dirty="0"/>
              <a:t> </a:t>
            </a:r>
            <a:r>
              <a:rPr lang="de-DE" dirty="0" err="1"/>
              <a:t>privacy</a:t>
            </a:r>
            <a:r>
              <a:rPr lang="de-DE" dirty="0"/>
              <a:t>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1CE3455-2728-2BAD-416C-09531ECAD8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3999" y="1833828"/>
            <a:ext cx="11244656" cy="726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666925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EF0577-3168-CAD2-0244-4176573F3F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147381D-F39E-D82F-E197-24DA07C290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192000" y="6858000"/>
            <a:ext cx="0" cy="0"/>
          </a:xfrm>
        </p:spPr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E2D8BD-213C-59CA-3AFC-0AE8D95E8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192000" y="6858000"/>
            <a:ext cx="0" cy="0"/>
          </a:xfrm>
        </p:spPr>
        <p:txBody>
          <a:bodyPr/>
          <a:lstStyle/>
          <a:p>
            <a:fld id="{01FFFE70-FC19-4A94-9D10-0B3C8E890CB2}" type="slidenum">
              <a:rPr lang="de-DE" smtClean="0"/>
              <a:pPr/>
              <a:t>31</a:t>
            </a:fld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D7A2D0-BCB9-57FA-EEF7-7F862085C0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5614" y="5090183"/>
            <a:ext cx="5436000" cy="235385"/>
          </a:xfrm>
        </p:spPr>
        <p:txBody>
          <a:bodyPr/>
          <a:lstStyle/>
          <a:p>
            <a:r>
              <a:rPr lang="en-US" dirty="0" err="1"/>
              <a:t>alexandru.lungu@eon.com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3D3DFF-03C5-FECA-0CB3-27689CCD20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5614" y="4727009"/>
            <a:ext cx="5436000" cy="302647"/>
          </a:xfrm>
        </p:spPr>
        <p:txBody>
          <a:bodyPr/>
          <a:lstStyle/>
          <a:p>
            <a:r>
              <a:rPr lang="en-US" dirty="0"/>
              <a:t>Alexandru Lungu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9E6A17F-3C3B-EEEA-7CC2-7F65AAB324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4"/>
            <a:ext cx="9288001" cy="689469"/>
          </a:xfrm>
        </p:spPr>
        <p:txBody>
          <a:bodyPr/>
          <a:lstStyle/>
          <a:p>
            <a:r>
              <a:rPr lang="en-US" dirty="0"/>
              <a:t>Questions 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B8DBD6-C1C2-582F-66DE-31858AD92D59}"/>
              </a:ext>
            </a:extLst>
          </p:cNvPr>
          <p:cNvSpPr txBox="1"/>
          <p:nvPr/>
        </p:nvSpPr>
        <p:spPr>
          <a:xfrm>
            <a:off x="998483" y="1650124"/>
            <a:ext cx="2165131" cy="38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endParaRPr lang="en-RO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0154B75A-4958-55AC-A1A5-27BF875373D3}"/>
              </a:ext>
            </a:extLst>
          </p:cNvPr>
          <p:cNvSpPr txBox="1">
            <a:spLocks/>
          </p:cNvSpPr>
          <p:nvPr/>
        </p:nvSpPr>
        <p:spPr bwMode="gray">
          <a:xfrm>
            <a:off x="6355282" y="1317972"/>
            <a:ext cx="5436000" cy="3026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216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0175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2400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3355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resentation link: https://</a:t>
            </a:r>
            <a:r>
              <a:rPr lang="en-US" dirty="0" err="1"/>
              <a:t>tinyurl.com</a:t>
            </a:r>
            <a:r>
              <a:rPr lang="en-US" dirty="0"/>
              <a:t>/ai-eon-2025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59E8290-7145-30CF-CCE9-D83BFC5C5626}"/>
              </a:ext>
            </a:extLst>
          </p:cNvPr>
          <p:cNvSpPr txBox="1">
            <a:spLocks/>
          </p:cNvSpPr>
          <p:nvPr/>
        </p:nvSpPr>
        <p:spPr bwMode="gray">
          <a:xfrm>
            <a:off x="445614" y="5386095"/>
            <a:ext cx="5436000" cy="2353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0175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2400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3355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https://</a:t>
            </a:r>
            <a:r>
              <a:rPr lang="en-US" dirty="0" err="1"/>
              <a:t>github.com</a:t>
            </a:r>
            <a:r>
              <a:rPr lang="en-US"/>
              <a:t>/alexlungu10/my-presentations/tree/main/2025</a:t>
            </a:r>
            <a:endParaRPr lang="en-US" dirty="0"/>
          </a:p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2217DC3-06EE-2BEA-D7D4-43897A1B06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55282" y="1844565"/>
            <a:ext cx="4654463" cy="4654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423338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platzhalter 23">
            <a:extLst>
              <a:ext uri="{FF2B5EF4-FFF2-40B4-BE49-F238E27FC236}">
                <a16:creationId xmlns:a16="http://schemas.microsoft.com/office/drawing/2014/main" id="{D529F6EE-C50E-1F33-50B7-0B50F3A299F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50" r="18750"/>
          <a:stretch>
            <a:fillRect/>
          </a:stretch>
        </p:blipFill>
        <p:spPr>
          <a:xfrm>
            <a:off x="4572000" y="0"/>
            <a:ext cx="7620000" cy="6858000"/>
          </a:xfr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8390FCC-8BFF-57ED-3199-2DABFAB3F0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192000" y="6858000"/>
            <a:ext cx="0" cy="0"/>
          </a:xfrm>
        </p:spPr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9FD150-3C7B-2A53-5E5D-7362BEB30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192000" y="6858000"/>
            <a:ext cx="0" cy="0"/>
          </a:xfrm>
        </p:spPr>
        <p:txBody>
          <a:bodyPr/>
          <a:lstStyle/>
          <a:p>
            <a:fld id="{01FFFE70-FC19-4A94-9D10-0B3C8E890CB2}" type="slidenum">
              <a:rPr lang="de-DE" smtClean="0"/>
              <a:pPr/>
              <a:t>32</a:t>
            </a:fld>
            <a:endParaRPr lang="de-DE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D1666BC-D20A-FD40-9D31-D6A6EF8CD5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3528000" cy="2243691"/>
          </a:xfrm>
        </p:spPr>
        <p:txBody>
          <a:bodyPr/>
          <a:lstStyle/>
          <a:p>
            <a:r>
              <a:rPr lang="en-US" dirty="0"/>
              <a:t>Thank you for your presence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5C8CDE5-AAA1-8403-A42F-59CCDA25A2F3}"/>
              </a:ext>
            </a:extLst>
          </p:cNvPr>
          <p:cNvSpPr txBox="1">
            <a:spLocks/>
          </p:cNvSpPr>
          <p:nvPr/>
        </p:nvSpPr>
        <p:spPr bwMode="gray">
          <a:xfrm>
            <a:off x="445614" y="5090183"/>
            <a:ext cx="5436000" cy="2353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4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0175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2400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3355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alexandru.lungu@eon.com</a:t>
            </a:r>
            <a:endParaRPr lang="en-US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8EFBB75-1A79-E8BF-FB43-B212636C3C3E}"/>
              </a:ext>
            </a:extLst>
          </p:cNvPr>
          <p:cNvSpPr txBox="1">
            <a:spLocks/>
          </p:cNvSpPr>
          <p:nvPr/>
        </p:nvSpPr>
        <p:spPr bwMode="gray">
          <a:xfrm>
            <a:off x="445614" y="4727009"/>
            <a:ext cx="5436000" cy="3026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216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0175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2400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3355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Alexandru Lungu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2F46A3-BEBC-9A25-A25D-74AA5C4588CC}"/>
              </a:ext>
            </a:extLst>
          </p:cNvPr>
          <p:cNvSpPr txBox="1">
            <a:spLocks/>
          </p:cNvSpPr>
          <p:nvPr/>
        </p:nvSpPr>
        <p:spPr bwMode="gray">
          <a:xfrm>
            <a:off x="6355282" y="1317972"/>
            <a:ext cx="5436000" cy="3026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216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0175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2400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3355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resentation link: https://</a:t>
            </a:r>
            <a:r>
              <a:rPr lang="en-US" dirty="0" err="1"/>
              <a:t>tinyurl.com</a:t>
            </a:r>
            <a:r>
              <a:rPr lang="en-US" dirty="0"/>
              <a:t>/ai-eon-2025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4075882-A6FC-9F50-4B3B-AEDA1A425B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55282" y="1844565"/>
            <a:ext cx="4654463" cy="4654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79928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78C9AD-9D87-7A8C-8B23-5880A461A8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49F0A17A-4A75-1600-E3C0-6D41D2A13066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9EB047A-484B-37E8-C261-A8786E3355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192000" y="6858000"/>
            <a:ext cx="0" cy="0"/>
          </a:xfrm>
        </p:spPr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8A96039-BD4A-C2E2-2EFA-DB7F09C8A0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192000" y="6858000"/>
            <a:ext cx="0" cy="0"/>
          </a:xfrm>
        </p:spPr>
        <p:txBody>
          <a:bodyPr/>
          <a:lstStyle/>
          <a:p>
            <a:fld id="{01FFFE70-FC19-4A94-9D10-0B3C8E890CB2}" type="slidenum">
              <a:rPr lang="de-DE" smtClean="0"/>
              <a:pPr/>
              <a:t>33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0094AE-ABB5-4493-F2E5-BAB46C87C0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1448780"/>
            <a:ext cx="11233150" cy="3545586"/>
          </a:xfrm>
        </p:spPr>
        <p:txBody>
          <a:bodyPr>
            <a:normAutofit/>
          </a:bodyPr>
          <a:lstStyle/>
          <a:p>
            <a:r>
              <a:rPr lang="en-US" dirty="0"/>
              <a:t>Thank you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FA7BBA41-89F3-059A-DFF2-5621F0205B0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5459159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C50D0E-7048-0CB4-EB7C-3F2C145546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BF3B7833-E352-4ECD-4EFE-4C0ADC2FB0B5}"/>
              </a:ext>
            </a:extLst>
          </p:cNvPr>
          <p:cNvSpPr txBox="1"/>
          <p:nvPr/>
        </p:nvSpPr>
        <p:spPr>
          <a:xfrm>
            <a:off x="590675" y="315993"/>
            <a:ext cx="11010651" cy="172354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9" tIns="60959" rIns="60959" bIns="60959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de-DE" sz="3200" kern="100" dirty="0">
              <a:solidFill>
                <a:srgbClr val="EA1C0A"/>
              </a:solidFill>
              <a:latin typeface="+mj-lt"/>
              <a:ea typeface="+mj-ea"/>
              <a:cs typeface="+mj-cs"/>
            </a:endParaRPr>
          </a:p>
          <a:p>
            <a:endParaRPr lang="en-US" sz="2400" dirty="0">
              <a:latin typeface="EON Brix Sans" panose="020B0500000000000000" pitchFamily="34" charset="77"/>
            </a:endParaRPr>
          </a:p>
          <a:p>
            <a:endParaRPr lang="en-US" sz="2400" dirty="0">
              <a:latin typeface="EON Brix Sans" panose="020B0500000000000000" pitchFamily="34" charset="77"/>
            </a:endParaRPr>
          </a:p>
          <a:p>
            <a:endParaRPr lang="en-US" sz="2400" dirty="0">
              <a:latin typeface="EON Brix Sans" panose="020B0500000000000000" pitchFamily="34" charset="77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563D6ABF-46CE-A0BB-E1F4-7EF51970CD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58487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561E92-30F5-D39A-6FE1-AACAAD0DD5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AA5A9F-77FF-6472-0CE0-EDCCE7BC8C4A}"/>
              </a:ext>
            </a:extLst>
          </p:cNvPr>
          <p:cNvSpPr txBox="1"/>
          <p:nvPr/>
        </p:nvSpPr>
        <p:spPr>
          <a:xfrm>
            <a:off x="727308" y="4482274"/>
            <a:ext cx="11010651" cy="218521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9" tIns="60959" rIns="60959" bIns="60959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de-DE" sz="3200" kern="100" dirty="0">
              <a:solidFill>
                <a:srgbClr val="EA1C0A"/>
              </a:solidFill>
              <a:latin typeface="+mj-lt"/>
              <a:ea typeface="+mj-ea"/>
              <a:cs typeface="+mj-cs"/>
            </a:endParaRPr>
          </a:p>
          <a:p>
            <a:endParaRPr lang="en-US" sz="2400" dirty="0">
              <a:latin typeface="EON Brix Sans" panose="020B0500000000000000" pitchFamily="34" charset="77"/>
            </a:endParaRPr>
          </a:p>
          <a:p>
            <a:r>
              <a:rPr lang="en-GB" dirty="0"/>
              <a:t>The Spring AI project aims to streamline the development of applications that incorporate artificial intelligence functionality without unnecessary complexity.</a:t>
            </a:r>
          </a:p>
          <a:p>
            <a:r>
              <a:rPr lang="en-GB" dirty="0"/>
              <a:t>The project draws inspiration from notable Python projects, such as </a:t>
            </a:r>
            <a:r>
              <a:rPr lang="en-GB" dirty="0" err="1"/>
              <a:t>LangChain</a:t>
            </a:r>
            <a:r>
              <a:rPr lang="en-GB" dirty="0"/>
              <a:t>, </a:t>
            </a:r>
            <a:r>
              <a:rPr lang="en-GB" dirty="0" err="1"/>
              <a:t>LlamaIndex</a:t>
            </a:r>
            <a:r>
              <a:rPr lang="en-GB" dirty="0"/>
              <a:t>, Langchain4J</a:t>
            </a:r>
          </a:p>
          <a:p>
            <a:endParaRPr lang="en-US" sz="2400" dirty="0">
              <a:latin typeface="EON Brix Sans" panose="020B0500000000000000" pitchFamily="34" charset="77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82209467-BEE8-9AB0-208B-323B2B3A2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de-DE" dirty="0"/>
              <a:t>Spring AI (</a:t>
            </a:r>
            <a:r>
              <a:rPr lang="de-DE" dirty="0" err="1"/>
              <a:t>framework</a:t>
            </a:r>
            <a:r>
              <a:rPr lang="de-DE" dirty="0"/>
              <a:t>)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5F29602-F4AF-3BC3-5BAB-6120C83D59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87246" y="944643"/>
            <a:ext cx="6997700" cy="438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7756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959C90-DBF0-8DFE-CB49-8C5BEB1709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E1B36576-E28D-7B1E-1F33-4BB23F22B3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de-DE" dirty="0"/>
              <a:t>Spring AI (</a:t>
            </a:r>
            <a:r>
              <a:rPr lang="de-DE" dirty="0" err="1"/>
              <a:t>framework</a:t>
            </a:r>
            <a:r>
              <a:rPr lang="de-DE" dirty="0"/>
              <a:t>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13B07D2-D242-379B-2CE5-B547014A41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16913"/>
            <a:ext cx="9982200" cy="6452613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EE1C2FFC-28F2-5C10-950D-E2582C037E89}"/>
                  </a:ext>
                </a:extLst>
              </p14:cNvPr>
              <p14:cNvContentPartPr/>
              <p14:nvPr/>
            </p14:nvContentPartPr>
            <p14:xfrm>
              <a:off x="2660633" y="5434647"/>
              <a:ext cx="1037520" cy="28800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EE1C2FFC-28F2-5C10-950D-E2582C037E89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651633" y="5426007"/>
                <a:ext cx="1055160" cy="3056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1331394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38C51D-F74F-7674-0DDD-4FCB32687D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FC6F0D97-1174-3F25-EC48-89216997705B}"/>
              </a:ext>
            </a:extLst>
          </p:cNvPr>
          <p:cNvSpPr txBox="1"/>
          <p:nvPr/>
        </p:nvSpPr>
        <p:spPr>
          <a:xfrm>
            <a:off x="590674" y="1539378"/>
            <a:ext cx="11010651" cy="483209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9" tIns="60959" rIns="60959" bIns="60959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upport for all major </a:t>
            </a:r>
            <a:r>
              <a:rPr lang="en-GB" dirty="0">
                <a:hlinkClick r:id="rId3"/>
              </a:rPr>
              <a:t>AI Model providers</a:t>
            </a:r>
            <a:r>
              <a:rPr lang="en-GB" dirty="0"/>
              <a:t> such as Anthropic, OpenAI, Microsoft, Amazon, Google, and </a:t>
            </a:r>
            <a:r>
              <a:rPr lang="en-GB" dirty="0" err="1"/>
              <a:t>Ollama</a:t>
            </a:r>
            <a:r>
              <a:rPr lang="en-GB" dirty="0"/>
              <a:t>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upported model types include:</a:t>
            </a:r>
          </a:p>
          <a:p>
            <a:pPr lvl="1"/>
            <a:r>
              <a:rPr lang="en-GB" dirty="0">
                <a:hlinkClick r:id="rId4"/>
              </a:rPr>
              <a:t>Chat Completion</a:t>
            </a:r>
            <a:endParaRPr lang="en-GB" dirty="0"/>
          </a:p>
          <a:p>
            <a:pPr lvl="1"/>
            <a:r>
              <a:rPr lang="en-GB" dirty="0">
                <a:hlinkClick r:id="rId5"/>
              </a:rPr>
              <a:t>Embedding</a:t>
            </a:r>
            <a:endParaRPr lang="en-GB" dirty="0"/>
          </a:p>
          <a:p>
            <a:pPr lvl="1"/>
            <a:r>
              <a:rPr lang="en-GB" dirty="0">
                <a:hlinkClick r:id="rId6"/>
              </a:rPr>
              <a:t>Text to Image</a:t>
            </a:r>
            <a:endParaRPr lang="en-GB" dirty="0"/>
          </a:p>
          <a:p>
            <a:pPr lvl="1"/>
            <a:r>
              <a:rPr lang="en-GB" dirty="0">
                <a:hlinkClick r:id="rId7"/>
              </a:rPr>
              <a:t>Audio Transcription</a:t>
            </a:r>
            <a:endParaRPr lang="en-GB" dirty="0"/>
          </a:p>
          <a:p>
            <a:pPr lvl="1"/>
            <a:r>
              <a:rPr lang="en-GB" dirty="0">
                <a:hlinkClick r:id="rId8"/>
              </a:rPr>
              <a:t>Text to Speech</a:t>
            </a:r>
            <a:endParaRPr lang="en-GB" dirty="0"/>
          </a:p>
          <a:p>
            <a:pPr lvl="1"/>
            <a:r>
              <a:rPr lang="en-GB" dirty="0">
                <a:hlinkClick r:id="rId9"/>
              </a:rPr>
              <a:t>Moderation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hlinkClick r:id="rId10"/>
              </a:rPr>
              <a:t>Structured Outputs</a:t>
            </a:r>
            <a:r>
              <a:rPr lang="en-GB" dirty="0"/>
              <a:t> - Mapping of AI Model output to POJO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upport for all major </a:t>
            </a:r>
            <a:r>
              <a:rPr lang="en-GB" dirty="0">
                <a:hlinkClick r:id="rId11"/>
              </a:rPr>
              <a:t>Vector Database providers</a:t>
            </a:r>
            <a:r>
              <a:rPr lang="en-GB" dirty="0"/>
              <a:t> 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hlinkClick r:id="rId12"/>
              </a:rPr>
              <a:t>Tools/Function Calling</a:t>
            </a:r>
            <a:r>
              <a:rPr lang="en-GB" dirty="0"/>
              <a:t> - Permits the model to request the execution of client-side tools and functions, thereby accessing necessary real-time information as required and taking ac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hlinkClick r:id="rId13"/>
              </a:rPr>
              <a:t>Observability</a:t>
            </a:r>
            <a:r>
              <a:rPr lang="en-GB" dirty="0"/>
              <a:t> - Provides insights into AI-related operat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Document ingestion </a:t>
            </a:r>
            <a:r>
              <a:rPr lang="en-GB" dirty="0">
                <a:hlinkClick r:id="rId14"/>
              </a:rPr>
              <a:t>ETL framework</a:t>
            </a:r>
            <a:r>
              <a:rPr lang="en-GB" dirty="0"/>
              <a:t> for Data Engineering. (document preprocessor for RAG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hlinkClick r:id="rId15"/>
              </a:rPr>
              <a:t>AI Model Evaluation</a:t>
            </a:r>
            <a:r>
              <a:rPr lang="en-GB" dirty="0"/>
              <a:t> - Utilities to help evaluate generated content and protect against hallucinated respon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upport for </a:t>
            </a:r>
            <a:r>
              <a:rPr lang="en-GB" dirty="0">
                <a:hlinkClick r:id="rId16"/>
              </a:rPr>
              <a:t>Chat Conversation Memory</a:t>
            </a:r>
            <a:r>
              <a:rPr lang="en-GB" dirty="0"/>
              <a:t> and RAG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8B9E56F8-FCCB-2978-A4EE-1B8D9F86D8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de-DE" dirty="0"/>
              <a:t>Spring AI - </a:t>
            </a:r>
            <a:r>
              <a:rPr lang="de-DE" dirty="0" err="1"/>
              <a:t>capabiliti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294569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1D1D61-6CB2-06DD-1C99-4DD7D715FB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CE8AF512-125B-2769-CE4C-929AAF64B8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de-DE" dirty="0"/>
              <a:t>RAG </a:t>
            </a:r>
            <a:r>
              <a:rPr lang="de-DE" dirty="0" err="1"/>
              <a:t>system</a:t>
            </a:r>
            <a:endParaRPr lang="de-D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C929F2C-AC87-AA83-4252-FAEB933032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126" y="155280"/>
            <a:ext cx="11238874" cy="6979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8163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50AFFF-73DB-6CF8-6920-98C7BF498D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3E37DC15-0C72-7FBA-A053-5E88BB1D7E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pPr algn="ctr"/>
            <a:r>
              <a:rPr lang="en-US" dirty="0" err="1"/>
              <a:t>Ollama</a:t>
            </a:r>
            <a:r>
              <a:rPr lang="en-US" dirty="0"/>
              <a:t> + RAG = AI Assistant</a:t>
            </a:r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C8900B-5894-61B9-98AF-943A590C7B4F}"/>
              </a:ext>
            </a:extLst>
          </p:cNvPr>
          <p:cNvSpPr txBox="1"/>
          <p:nvPr/>
        </p:nvSpPr>
        <p:spPr>
          <a:xfrm>
            <a:off x="504000" y="1754909"/>
            <a:ext cx="10691838" cy="18373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r>
              <a:rPr lang="en-RO" dirty="0"/>
              <a:t>Business usecase:</a:t>
            </a:r>
          </a:p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r>
              <a:rPr lang="en-RO" dirty="0"/>
              <a:t>We want to ask questions to the AI Assistant about a building, and to retrieve information about the infrastructure,</a:t>
            </a:r>
          </a:p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r>
              <a:rPr lang="en-RO" dirty="0"/>
              <a:t> or the power consumption, or different business usecases. </a:t>
            </a:r>
          </a:p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r>
              <a:rPr lang="en-RO" dirty="0"/>
              <a:t>The user can be a technical operator, a manager or a normal user. </a:t>
            </a:r>
          </a:p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r>
              <a:rPr lang="en-RO" dirty="0"/>
              <a:t>The questions will be in natural language.   </a:t>
            </a:r>
          </a:p>
        </p:txBody>
      </p:sp>
    </p:spTree>
    <p:extLst>
      <p:ext uri="{BB962C8B-B14F-4D97-AF65-F5344CB8AC3E}">
        <p14:creationId xmlns:p14="http://schemas.microsoft.com/office/powerpoint/2010/main" val="15027417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BF20FB-F3D9-2FE1-C5C4-A025E7E3C2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80D8323A-7CB0-5E47-CE0A-12A6B3079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11032218" cy="440643"/>
          </a:xfrm>
        </p:spPr>
        <p:txBody>
          <a:bodyPr/>
          <a:lstStyle/>
          <a:p>
            <a:r>
              <a:rPr lang="de-DE" dirty="0"/>
              <a:t>Neo4J – </a:t>
            </a:r>
            <a:r>
              <a:rPr lang="en-RO" dirty="0"/>
              <a:t>Building model as a knowledge graph (graph database)</a:t>
            </a:r>
            <a:endParaRPr lang="de-DE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6052ED5-FEBA-865B-2834-72D4BA3B19A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4755"/>
          <a:stretch>
            <a:fillRect/>
          </a:stretch>
        </p:blipFill>
        <p:spPr>
          <a:xfrm>
            <a:off x="-1794734" y="944643"/>
            <a:ext cx="14282297" cy="6980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6681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ENTATION_LANGUAGE" val="10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FALLBACK_LAYOUT" val="10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False"/>
  <p:tag name="MIO_EKGUID" val="eb6f9806-6aca-42a5-a15d-21eb542aa4f3"/>
  <p:tag name="MIO_DBID" val="D7590C14-188D-4365-94A4-B777FB29057E"/>
  <p:tag name="MIO_OBJECTNAME" val="# E.ON"/>
  <p:tag name="MIO_NUMBER_OF_VALID_LAYOUTS" val="27"/>
  <p:tag name="MIO_VERSION" val="20.06.2023 11:00:13"/>
  <p:tag name="MIO_LASTDOWNLOADED" val="01.08.2023 07:08:57.546"/>
  <p:tag name="MIO_CDID" val="4d0307e6-a3f9-4dd6-817a-a971db264043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E.ON">
  <a:themeElements>
    <a:clrScheme name="E.ON 2024-03-22">
      <a:dk1>
        <a:srgbClr val="1A1A1A"/>
      </a:dk1>
      <a:lt1>
        <a:srgbClr val="FFFFFF"/>
      </a:lt1>
      <a:dk2>
        <a:srgbClr val="1A1A1A"/>
      </a:dk2>
      <a:lt2>
        <a:srgbClr val="FFFFFF"/>
      </a:lt2>
      <a:accent1>
        <a:srgbClr val="EA1B0A"/>
      </a:accent1>
      <a:accent2>
        <a:srgbClr val="9D1207"/>
      </a:accent2>
      <a:accent3>
        <a:srgbClr val="F05B48"/>
      </a:accent3>
      <a:accent4>
        <a:srgbClr val="F6C1B0"/>
      </a:accent4>
      <a:accent5>
        <a:srgbClr val="961482"/>
      </a:accent5>
      <a:accent6>
        <a:srgbClr val="CA6FBA"/>
      </a:accent6>
      <a:hlink>
        <a:srgbClr val="1A1A1A"/>
      </a:hlink>
      <a:folHlink>
        <a:srgbClr val="1A1A1A"/>
      </a:folHlink>
    </a:clrScheme>
    <a:fontScheme name="Benutzerdefiniert 45">
      <a:majorFont>
        <a:latin typeface="EON Brix Sans"/>
        <a:ea typeface=""/>
        <a:cs typeface=""/>
      </a:majorFont>
      <a:minorFont>
        <a:latin typeface="EON Bri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ctr"/>
      <a:lstStyle>
        <a:defPPr algn="ctr" defTabSz="540000">
          <a:lnSpc>
            <a:spcPct val="120000"/>
          </a:lnSpc>
          <a:spcAft>
            <a:spcPts val="400"/>
          </a:spcAft>
          <a:defRPr sz="14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defTabSz="540000">
          <a:lnSpc>
            <a:spcPct val="120000"/>
          </a:lnSpc>
          <a:spcAft>
            <a:spcPts val="400"/>
          </a:spcAft>
          <a:defRPr dirty="0"/>
        </a:defPPr>
      </a:lstStyle>
    </a:txDef>
  </a:objectDefaults>
  <a:extraClrSchemeLst/>
  <a:custClrLst>
    <a:custClr name="Red 100">
      <a:srgbClr val="F6E5DC"/>
    </a:custClr>
    <a:custClr name="Red 200">
      <a:srgbClr val="F6C1B0"/>
    </a:custClr>
    <a:custClr name="Red 300">
      <a:srgbClr val="F59A86"/>
    </a:custClr>
    <a:custClr name="Red 400">
      <a:srgbClr val="F05B48"/>
    </a:custClr>
    <a:custClr name="Red 500">
      <a:srgbClr val="EA1B0A"/>
    </a:custClr>
    <a:custClr name="Red 600">
      <a:srgbClr val="C41708"/>
    </a:custClr>
    <a:custClr name="Red 700">
      <a:srgbClr val="9D1207"/>
    </a:custClr>
    <a:custClr name="Red 800">
      <a:srgbClr val="750E05"/>
    </a:custClr>
    <a:custClr name="Red 900">
      <a:srgbClr val="4E0903"/>
    </a:custClr>
    <a:custClr>
      <a:srgbClr val="FFFFFF"/>
    </a:custClr>
    <a:custClr name="Purple 100">
      <a:srgbClr val="F0D8EB"/>
    </a:custClr>
    <a:custClr name="Purple 200">
      <a:srgbClr val="DBA6D1"/>
    </a:custClr>
    <a:custClr name="Purple 300">
      <a:srgbClr val="CA6FBA"/>
    </a:custClr>
    <a:custClr name="Purple 400">
      <a:srgbClr val="B0429D"/>
    </a:custClr>
    <a:custClr name="Purple 500">
      <a:srgbClr val="961482"/>
    </a:custClr>
    <a:custClr name="Purple 600">
      <a:srgbClr val="821171"/>
    </a:custClr>
    <a:custClr name="Purple 700">
      <a:srgbClr val="710F62"/>
    </a:custClr>
    <a:custClr name="Purple 800">
      <a:srgbClr val="5F0C52"/>
    </a:custClr>
    <a:custClr name="Purple 900">
      <a:srgbClr val="4D0A42"/>
    </a:custClr>
    <a:custClr>
      <a:srgbClr val="FFFFFF"/>
    </a:custClr>
    <a:custClr name="Grey 100">
      <a:srgbClr val="F8F5F2"/>
    </a:custClr>
    <a:custClr name="Grey 200">
      <a:srgbClr val="F0EBE5"/>
    </a:custClr>
    <a:custClr name="Grey 300">
      <a:srgbClr val="D7D0CC"/>
    </a:custClr>
    <a:custClr name="Grey 400">
      <a:srgbClr val="B3ACA9"/>
    </a:custClr>
    <a:custClr name="Grey 500">
      <a:srgbClr val="958D8B"/>
    </a:custClr>
    <a:custClr name="Grey 600">
      <a:srgbClr val="767676"/>
    </a:custClr>
    <a:custClr name="Grey 700">
      <a:srgbClr val="5C5C5C"/>
    </a:custClr>
    <a:custClr name="Grey 800">
      <a:srgbClr val="404040"/>
    </a:custClr>
    <a:custClr name="Grey 900">
      <a:srgbClr val="262626"/>
    </a:custClr>
    <a:custClr>
      <a:srgbClr val="FFFFFF"/>
    </a:custClr>
    <a:custClr name="Blue 100">
      <a:srgbClr val="CCEBFF"/>
    </a:custClr>
    <a:custClr name="Blue 200">
      <a:srgbClr val="A3DAFF"/>
    </a:custClr>
    <a:custClr name="Blue 300">
      <a:srgbClr val="7ACAFF"/>
    </a:custClr>
    <a:custClr name="Blue 400">
      <a:srgbClr val="52BAFF"/>
    </a:custClr>
    <a:custClr name="Blue 500">
      <a:srgbClr val="27A9FF"/>
    </a:custClr>
    <a:custClr name="Blue 600">
      <a:srgbClr val="0093F5"/>
    </a:custClr>
    <a:custClr name="Blue 700">
      <a:srgbClr val="0075C2"/>
    </a:custClr>
    <a:custClr name="Blue 800">
      <a:srgbClr val="00568F"/>
    </a:custClr>
    <a:custClr name="Blue 900">
      <a:srgbClr val="00375C"/>
    </a:custClr>
    <a:custClr>
      <a:srgbClr val="FFFFFF"/>
    </a:custClr>
  </a:custClrLst>
  <a:extLst>
    <a:ext uri="{05A4C25C-085E-4340-85A3-A5531E510DB2}">
      <thm15:themeFamily xmlns:thm15="http://schemas.microsoft.com/office/thememl/2012/main" name="EON_Presentation.potx" id="{C15D9FDF-0D54-45A2-A2DF-B7A90DF098F0}" vid="{18B97579-6F8D-4C69-BE33-321BB92D3DFE}"/>
    </a:ext>
  </a:extLst>
</a:theme>
</file>

<file path=ppt/theme/theme2.xml><?xml version="1.0" encoding="utf-8"?>
<a:theme xmlns:a="http://schemas.openxmlformats.org/drawingml/2006/main" name="Office">
  <a:themeElements>
    <a:clrScheme name="E.ON 2024-03-22">
      <a:dk1>
        <a:srgbClr val="1A1A1A"/>
      </a:dk1>
      <a:lt1>
        <a:srgbClr val="FFFFFF"/>
      </a:lt1>
      <a:dk2>
        <a:srgbClr val="1A1A1A"/>
      </a:dk2>
      <a:lt2>
        <a:srgbClr val="FFFFFF"/>
      </a:lt2>
      <a:accent1>
        <a:srgbClr val="EA1B0A"/>
      </a:accent1>
      <a:accent2>
        <a:srgbClr val="9D1207"/>
      </a:accent2>
      <a:accent3>
        <a:srgbClr val="F05B48"/>
      </a:accent3>
      <a:accent4>
        <a:srgbClr val="F6C1B0"/>
      </a:accent4>
      <a:accent5>
        <a:srgbClr val="961482"/>
      </a:accent5>
      <a:accent6>
        <a:srgbClr val="CA6FBA"/>
      </a:accent6>
      <a:hlink>
        <a:srgbClr val="1A1A1A"/>
      </a:hlink>
      <a:folHlink>
        <a:srgbClr val="1A1A1A"/>
      </a:folHlink>
    </a:clrScheme>
    <a:fontScheme name="Benutzerdefiniert 45">
      <a:majorFont>
        <a:latin typeface="EON Brix Sans"/>
        <a:ea typeface=""/>
        <a:cs typeface=""/>
      </a:majorFont>
      <a:minorFont>
        <a:latin typeface="EON Bri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E.ON 2024-03-22">
      <a:dk1>
        <a:srgbClr val="1A1A1A"/>
      </a:dk1>
      <a:lt1>
        <a:srgbClr val="FFFFFF"/>
      </a:lt1>
      <a:dk2>
        <a:srgbClr val="1A1A1A"/>
      </a:dk2>
      <a:lt2>
        <a:srgbClr val="FFFFFF"/>
      </a:lt2>
      <a:accent1>
        <a:srgbClr val="EA1B0A"/>
      </a:accent1>
      <a:accent2>
        <a:srgbClr val="9D1207"/>
      </a:accent2>
      <a:accent3>
        <a:srgbClr val="F05B48"/>
      </a:accent3>
      <a:accent4>
        <a:srgbClr val="F6C1B0"/>
      </a:accent4>
      <a:accent5>
        <a:srgbClr val="961482"/>
      </a:accent5>
      <a:accent6>
        <a:srgbClr val="CA6FBA"/>
      </a:accent6>
      <a:hlink>
        <a:srgbClr val="1A1A1A"/>
      </a:hlink>
      <a:folHlink>
        <a:srgbClr val="1A1A1A"/>
      </a:folHlink>
    </a:clrScheme>
    <a:fontScheme name="Benutzerdefiniert 45">
      <a:majorFont>
        <a:latin typeface="EON Brix Sans"/>
        <a:ea typeface=""/>
        <a:cs typeface=""/>
      </a:majorFont>
      <a:minorFont>
        <a:latin typeface="EON Bri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42769179A9DCF409C2A8CB944873DB4" ma:contentTypeVersion="15" ma:contentTypeDescription="Create a new document." ma:contentTypeScope="" ma:versionID="e0dba57bfaab1bf86df6ed3a06d707f0">
  <xsd:schema xmlns:xsd="http://www.w3.org/2001/XMLSchema" xmlns:xs="http://www.w3.org/2001/XMLSchema" xmlns:p="http://schemas.microsoft.com/office/2006/metadata/properties" xmlns:ns2="6bd85ca3-a648-4808-98f4-fd769bced636" xmlns:ns3="873adf82-8543-45de-ab67-3985070cb6ec" targetNamespace="http://schemas.microsoft.com/office/2006/metadata/properties" ma:root="true" ma:fieldsID="a29bffadb33639e433d2583f06272b34" ns2:_="" ns3:_="">
    <xsd:import namespace="6bd85ca3-a648-4808-98f4-fd769bced636"/>
    <xsd:import namespace="873adf82-8543-45de-ab67-3985070cb6e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d85ca3-a648-4808-98f4-fd769bced63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2" nillable="true" ma:displayName="Location" ma:indexed="true" ma:internalName="MediaServiceLocatio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36a257fb-28f5-49c4-92c3-d49665e8e1d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3adf82-8543-45de-ab67-3985070cb6e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87ed3949-2294-4e6c-8376-851c85d44729}" ma:internalName="TaxCatchAll" ma:showField="CatchAllData" ma:web="873adf82-8543-45de-ab67-3985070cb6e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bd85ca3-a648-4808-98f4-fd769bced636">
      <Terms xmlns="http://schemas.microsoft.com/office/infopath/2007/PartnerControls"/>
    </lcf76f155ced4ddcb4097134ff3c332f>
    <TaxCatchAll xmlns="873adf82-8543-45de-ab67-3985070cb6ec" xsi:nil="true"/>
    <SharedWithUsers xmlns="873adf82-8543-45de-ab67-3985070cb6ec">
      <UserInfo>
        <DisplayName>Sebastian Emmel (Peter Schmidt Group)</DisplayName>
        <AccountId>20</AccountId>
        <AccountType/>
      </UserInfo>
      <UserInfo>
        <DisplayName>Fabio Prata (Peter Schmidt Group)</DisplayName>
        <AccountId>28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41B65A98-60CA-46C1-B5DE-18B7AF6F00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bd85ca3-a648-4808-98f4-fd769bced636"/>
    <ds:schemaRef ds:uri="873adf82-8543-45de-ab67-3985070cb6e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9575DA2-38B3-4D6C-BE45-A5618476C89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BB9F5CF-2DCE-49DD-AA36-81101D395492}">
  <ds:schemaRefs>
    <ds:schemaRef ds:uri="http://purl.org/dc/dcmitype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6bd85ca3-a648-4808-98f4-fd769bced636"/>
    <ds:schemaRef ds:uri="873adf82-8543-45de-ab67-3985070cb6ec"/>
    <ds:schemaRef ds:uri="http://purl.org/dc/elements/1.1/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42f063bf-ce3a-473c-8609-3866002c85b0}" enabled="1" method="Standard" siteId="{b914a242-e718-443b-a47c-6b4c649d8c0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EON_Presentation (1)</Template>
  <TotalTime>871</TotalTime>
  <Words>2467</Words>
  <Application>Microsoft Macintosh PowerPoint</Application>
  <PresentationFormat>Widescreen</PresentationFormat>
  <Paragraphs>173</Paragraphs>
  <Slides>34</Slides>
  <Notes>3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38" baseType="lpstr">
      <vt:lpstr>EON Brix Sans</vt:lpstr>
      <vt:lpstr>EON Office Head</vt:lpstr>
      <vt:lpstr>Arial</vt:lpstr>
      <vt:lpstr>E.ON</vt:lpstr>
      <vt:lpstr>Build your first AI Assistant using generative AI</vt:lpstr>
      <vt:lpstr>Agenda</vt:lpstr>
      <vt:lpstr>PowerPoint Presentation</vt:lpstr>
      <vt:lpstr>Spring AI (framework)</vt:lpstr>
      <vt:lpstr>Spring AI (framework)</vt:lpstr>
      <vt:lpstr>Spring AI - capabilities</vt:lpstr>
      <vt:lpstr>RAG system</vt:lpstr>
      <vt:lpstr>Ollama + RAG = AI Assistant</vt:lpstr>
      <vt:lpstr>Neo4J – Building model as a knowledge graph (graph database)</vt:lpstr>
      <vt:lpstr>Ollama + RAG = AI Assistant</vt:lpstr>
      <vt:lpstr>Ollama + RAG = AI Assistant</vt:lpstr>
      <vt:lpstr>Ollama + RAG = AI Assistant</vt:lpstr>
      <vt:lpstr>Ollama + RAG = AI Assistant</vt:lpstr>
      <vt:lpstr>Ollama + RAG = AI Assistant</vt:lpstr>
      <vt:lpstr>Ollama + RAG = AI Assistant – how it works?</vt:lpstr>
      <vt:lpstr>Ollama + RAG = AI Assistant – how it works?</vt:lpstr>
      <vt:lpstr>Ollama + RAG = AI Assistant – how it works?</vt:lpstr>
      <vt:lpstr>Ollama + RAG = AI Assistant – how it works?</vt:lpstr>
      <vt:lpstr>Ollama + RAG = AI Assistant – how it works?</vt:lpstr>
      <vt:lpstr>Ollama + RAG = AI Assistant – how it works?</vt:lpstr>
      <vt:lpstr>Ollama + RAG = AI Assistant – how it works?</vt:lpstr>
      <vt:lpstr>Neo4J - other use cases and capabilities</vt:lpstr>
      <vt:lpstr>PowerPoint Presentation</vt:lpstr>
      <vt:lpstr>PowerPoint Presentation</vt:lpstr>
      <vt:lpstr>Neo4J</vt:lpstr>
      <vt:lpstr>Neo4J</vt:lpstr>
      <vt:lpstr>Neo4J</vt:lpstr>
      <vt:lpstr>Neo4J</vt:lpstr>
      <vt:lpstr>Ollama= download free LLM models  (offline mode/ no Internet needed= full privacy)</vt:lpstr>
      <vt:lpstr>Ollama= download free LLM models  (offline mode/ no Internet needed= full privacy)</vt:lpstr>
      <vt:lpstr>Questions ?</vt:lpstr>
      <vt:lpstr>Thank you for your presence.</vt:lpstr>
      <vt:lpstr>Thank you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in two lines</dc:title>
  <dc:creator>CRETU-MIHAILESCU, ALEXANDRA-GEORGIA</dc:creator>
  <cp:lastModifiedBy>Lungu, Alexandru</cp:lastModifiedBy>
  <cp:revision>46</cp:revision>
  <dcterms:created xsi:type="dcterms:W3CDTF">2024-07-16T09:57:50Z</dcterms:created>
  <dcterms:modified xsi:type="dcterms:W3CDTF">2025-10-08T06:23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42769179A9DCF409C2A8CB944873DB4</vt:lpwstr>
  </property>
  <property fmtid="{D5CDD505-2E9C-101B-9397-08002B2CF9AE}" pid="3" name="MediaServiceImageTags">
    <vt:lpwstr/>
  </property>
</Properties>
</file>